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390" r:id="rId2"/>
    <p:sldId id="463" r:id="rId3"/>
    <p:sldId id="473" r:id="rId4"/>
    <p:sldId id="474" r:id="rId5"/>
    <p:sldId id="466" r:id="rId6"/>
    <p:sldId id="468" r:id="rId7"/>
    <p:sldId id="475" r:id="rId8"/>
    <p:sldId id="471" r:id="rId9"/>
    <p:sldId id="477" r:id="rId10"/>
    <p:sldId id="476" r:id="rId11"/>
    <p:sldId id="478" r:id="rId12"/>
  </p:sldIdLst>
  <p:sldSz cx="12192000" cy="6858000"/>
  <p:notesSz cx="6807200" cy="9939338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Read Me" id="{45FD8A60-57D7-4487-8833-B394EDE80437}">
          <p14:sldIdLst/>
        </p14:section>
        <p14:section name="Orbital-Presentation Power Point Template" id="{A11E951B-8740-4C6A-930C-13CE3B3522A6}">
          <p14:sldIdLst>
            <p14:sldId id="390"/>
            <p14:sldId id="463"/>
            <p14:sldId id="473"/>
            <p14:sldId id="474"/>
            <p14:sldId id="466"/>
            <p14:sldId id="468"/>
            <p14:sldId id="475"/>
            <p14:sldId id="471"/>
            <p14:sldId id="477"/>
            <p14:sldId id="476"/>
            <p14:sldId id="478"/>
          </p14:sldIdLst>
        </p14:section>
        <p14:section name="Support Icon and Device" id="{16BB69B0-C765-4187-B0C4-C4F810636E60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003" userDrawn="1">
          <p15:clr>
            <a:srgbClr val="A4A3A4"/>
          </p15:clr>
        </p15:guide>
        <p15:guide id="2" pos="3500" userDrawn="1">
          <p15:clr>
            <a:srgbClr val="A4A3A4"/>
          </p15:clr>
        </p15:guide>
        <p15:guide id="3" orient="horz" pos="2772" userDrawn="1">
          <p15:clr>
            <a:srgbClr val="A4A3A4"/>
          </p15:clr>
        </p15:guide>
        <p15:guide id="5" pos="748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" initials="M" lastIdx="1" clrIdx="0">
    <p:extLst>
      <p:ext uri="{19B8F6BF-5375-455C-9EA6-DF929625EA0E}">
        <p15:presenceInfo xmlns:p15="http://schemas.microsoft.com/office/powerpoint/2012/main" userId="M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74747"/>
    <a:srgbClr val="000000"/>
    <a:srgbClr val="525252"/>
    <a:srgbClr val="ED1B2E"/>
    <a:srgbClr val="7F7F7F"/>
    <a:srgbClr val="00B050"/>
    <a:srgbClr val="ED1B2F"/>
    <a:srgbClr val="E0E0E0"/>
    <a:srgbClr val="01369E"/>
    <a:srgbClr val="0235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263" autoAdjust="0"/>
    <p:restoredTop sz="94414" autoAdjust="0"/>
  </p:normalViewPr>
  <p:slideViewPr>
    <p:cSldViewPr snapToGrid="0">
      <p:cViewPr varScale="1">
        <p:scale>
          <a:sx n="110" d="100"/>
          <a:sy n="110" d="100"/>
        </p:scale>
        <p:origin x="594" y="138"/>
      </p:cViewPr>
      <p:guideLst>
        <p:guide orient="horz" pos="1003"/>
        <p:guide pos="3500"/>
        <p:guide orient="horz" pos="2772"/>
        <p:guide pos="7481"/>
      </p:guideLst>
    </p:cSldViewPr>
  </p:slideViewPr>
  <p:outlineViewPr>
    <p:cViewPr>
      <p:scale>
        <a:sx n="33" d="100"/>
        <a:sy n="33" d="100"/>
      </p:scale>
      <p:origin x="0" y="-169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5" d="100"/>
          <a:sy n="55" d="100"/>
        </p:scale>
        <p:origin x="1854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453BE2D-D63F-46EC-9447-15211CE6BEF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86" cy="498693"/>
          </a:xfrm>
          <a:prstGeom prst="rect">
            <a:avLst/>
          </a:prstGeom>
        </p:spPr>
        <p:txBody>
          <a:bodyPr vert="horz" lIns="91550" tIns="45775" rIns="91550" bIns="45775" rtlCol="0"/>
          <a:lstStyle>
            <a:lvl1pPr algn="l">
              <a:defRPr sz="1200"/>
            </a:lvl1pPr>
          </a:lstStyle>
          <a:p>
            <a:r>
              <a:rPr lang="en-US" dirty="0"/>
              <a:t>Orbita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780914-90F2-4F18-810F-15B29F662D5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40646"/>
            <a:ext cx="2949786" cy="498692"/>
          </a:xfrm>
          <a:prstGeom prst="rect">
            <a:avLst/>
          </a:prstGeom>
        </p:spPr>
        <p:txBody>
          <a:bodyPr vert="horz" lIns="91550" tIns="45775" rIns="91550" bIns="4577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952739-C5CC-4A46-A17E-F8990488E8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5839" y="9440646"/>
            <a:ext cx="2949786" cy="498692"/>
          </a:xfrm>
          <a:prstGeom prst="rect">
            <a:avLst/>
          </a:prstGeom>
        </p:spPr>
        <p:txBody>
          <a:bodyPr vert="horz" lIns="91550" tIns="45775" rIns="91550" bIns="45775" rtlCol="0" anchor="b"/>
          <a:lstStyle>
            <a:lvl1pPr algn="r">
              <a:defRPr sz="1200"/>
            </a:lvl1pPr>
          </a:lstStyle>
          <a:p>
            <a:fld id="{1A22FED0-D841-409C-AFBF-77189BC075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6637058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86" cy="498693"/>
          </a:xfrm>
          <a:prstGeom prst="rect">
            <a:avLst/>
          </a:prstGeom>
        </p:spPr>
        <p:txBody>
          <a:bodyPr vert="horz" lIns="91550" tIns="45775" rIns="91550" bIns="45775" rtlCol="0"/>
          <a:lstStyle>
            <a:lvl1pPr algn="l">
              <a:defRPr sz="1200"/>
            </a:lvl1pPr>
          </a:lstStyle>
          <a:p>
            <a:r>
              <a:rPr lang="en-US" dirty="0"/>
              <a:t>Orbita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39" y="0"/>
            <a:ext cx="2949786" cy="498693"/>
          </a:xfrm>
          <a:prstGeom prst="rect">
            <a:avLst/>
          </a:prstGeom>
        </p:spPr>
        <p:txBody>
          <a:bodyPr vert="horz" lIns="91550" tIns="45775" rIns="91550" bIns="45775" rtlCol="0"/>
          <a:lstStyle>
            <a:lvl1pPr algn="r">
              <a:defRPr sz="1200"/>
            </a:lvl1pPr>
          </a:lstStyle>
          <a:p>
            <a:fld id="{4B453977-1BA1-4FF4-8322-A2F9C2E8BD85}" type="datetimeFigureOut">
              <a:rPr lang="en-US" smtClean="0"/>
              <a:t>5/16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594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50" tIns="45775" rIns="91550" bIns="4577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1" y="4783307"/>
            <a:ext cx="5445760" cy="3913615"/>
          </a:xfrm>
          <a:prstGeom prst="rect">
            <a:avLst/>
          </a:prstGeom>
        </p:spPr>
        <p:txBody>
          <a:bodyPr vert="horz" lIns="91550" tIns="45775" rIns="91550" bIns="45775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0646"/>
            <a:ext cx="2949786" cy="498692"/>
          </a:xfrm>
          <a:prstGeom prst="rect">
            <a:avLst/>
          </a:prstGeom>
        </p:spPr>
        <p:txBody>
          <a:bodyPr vert="horz" lIns="91550" tIns="45775" rIns="91550" bIns="4577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39" y="9440646"/>
            <a:ext cx="2949786" cy="498692"/>
          </a:xfrm>
          <a:prstGeom prst="rect">
            <a:avLst/>
          </a:prstGeom>
        </p:spPr>
        <p:txBody>
          <a:bodyPr vert="horz" lIns="91550" tIns="45775" rIns="91550" bIns="45775" rtlCol="0" anchor="b"/>
          <a:lstStyle>
            <a:lvl1pPr algn="r">
              <a:defRPr sz="1200"/>
            </a:lvl1pPr>
          </a:lstStyle>
          <a:p>
            <a:fld id="{FDA2E68C-7B56-43C3-84AB-00E44E2EBF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3141800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293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Picture Placeholder 153">
            <a:extLst>
              <a:ext uri="{FF2B5EF4-FFF2-40B4-BE49-F238E27FC236}">
                <a16:creationId xmlns:a16="http://schemas.microsoft.com/office/drawing/2014/main" id="{44F3BA78-05AD-48A8-A221-8282593BA6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BE823C-094C-43E8-A2BF-C39982B98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6D15C1-7C4E-4F9D-8AF0-F42986CE61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E0ABEA-2046-4934-970C-978C20990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993F-016C-424B-B554-1BF85CE3C53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AutoShape 3">
            <a:extLst>
              <a:ext uri="{FF2B5EF4-FFF2-40B4-BE49-F238E27FC236}">
                <a16:creationId xmlns:a16="http://schemas.microsoft.com/office/drawing/2014/main" id="{495A0B07-6194-48EC-945B-37EF2BA98CD4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7938" y="0"/>
            <a:ext cx="121761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9" name="AutoShape 147">
            <a:extLst>
              <a:ext uri="{FF2B5EF4-FFF2-40B4-BE49-F238E27FC236}">
                <a16:creationId xmlns:a16="http://schemas.microsoft.com/office/drawing/2014/main" id="{8624B21D-EA21-4C6E-9636-85675B3E37C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-1588" y="0"/>
            <a:ext cx="121777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EFEE86A0-FA05-4932-A656-320571D27F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351" y="0"/>
            <a:ext cx="121761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6028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val 14">
            <a:extLst>
              <a:ext uri="{FF2B5EF4-FFF2-40B4-BE49-F238E27FC236}">
                <a16:creationId xmlns:a16="http://schemas.microsoft.com/office/drawing/2014/main" id="{68D3CF58-15AD-4952-8B79-9C2A28EB742F}"/>
              </a:ext>
            </a:extLst>
          </p:cNvPr>
          <p:cNvSpPr/>
          <p:nvPr userDrawn="1"/>
        </p:nvSpPr>
        <p:spPr>
          <a:xfrm>
            <a:off x="2963333" y="4460134"/>
            <a:ext cx="6265334" cy="626533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779AEA-8EC4-419F-A6DA-9114B3FA91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5467" y="67984"/>
            <a:ext cx="2514600" cy="341841"/>
          </a:xfrm>
        </p:spPr>
        <p:txBody>
          <a:bodyPr/>
          <a:lstStyle>
            <a:lvl1pPr algn="l">
              <a:defRPr spc="300"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1D3791-7095-468B-96A9-98FFCAF694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54067" y="56343"/>
            <a:ext cx="2743200" cy="365125"/>
          </a:xfrm>
        </p:spPr>
        <p:txBody>
          <a:bodyPr/>
          <a:lstStyle>
            <a:lvl1pPr>
              <a:defRPr sz="800" b="1"/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A3F8B86-1357-4091-92DE-58378F829B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69276" y="-639593"/>
            <a:ext cx="3853450" cy="3851104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F782B30B-72CF-46B1-8720-2768C4527A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7060" y="1382711"/>
            <a:ext cx="2682922" cy="2681289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A9E7C7F3-1F31-4353-A663-77F087AB0B8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082020" y="1382711"/>
            <a:ext cx="2682922" cy="2681289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2CBCABC5-ECF8-4798-BF1F-3CE6B9C5FB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71150" y="3352080"/>
            <a:ext cx="1758268" cy="346971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81016784-B6FA-466F-9E1A-10EE4F16B2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71151" y="3573778"/>
            <a:ext cx="1758268" cy="32795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E251CAF2-7D28-4740-AE88-46B183A7CDE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22726" y="4238436"/>
            <a:ext cx="1758268" cy="346971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3D853A8-2D95-47DE-99D7-E1A0FAA084F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2727" y="4460134"/>
            <a:ext cx="1758268" cy="32795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536F0CE-344A-439B-A2E9-248348E8BD0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92300" y="4238436"/>
            <a:ext cx="1758268" cy="346971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CA938EE-0CC2-4FB2-AF4A-834A28A64FC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92301" y="4460134"/>
            <a:ext cx="1758268" cy="32795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426324FC-8522-495D-974A-285535CBBD7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10554" y="5286688"/>
            <a:ext cx="3580380" cy="52342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35E2FB21-B91F-42E9-849E-086209559F9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78762" y="5771875"/>
            <a:ext cx="3843964" cy="73236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accent6">
                    <a:lumMod val="90000"/>
                    <a:lumOff val="1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27557189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AA8585AA-858C-4743-B450-25BBF470A8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4749" y="2535670"/>
            <a:ext cx="4517988" cy="781286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A83EB5E3-D7ED-43E9-B5FD-F129C3B469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86600" y="3316956"/>
            <a:ext cx="4504509" cy="1248168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0940D98-0428-4FF1-AC26-692347DC758D}"/>
              </a:ext>
            </a:extLst>
          </p:cNvPr>
          <p:cNvSpPr/>
          <p:nvPr userDrawn="1"/>
        </p:nvSpPr>
        <p:spPr>
          <a:xfrm flipH="1">
            <a:off x="-2481970" y="-8501"/>
            <a:ext cx="3427352" cy="6875003"/>
          </a:xfrm>
          <a:custGeom>
            <a:avLst/>
            <a:gdLst>
              <a:gd name="connsiteX0" fmla="*/ 3115646 w 3115646"/>
              <a:gd name="connsiteY0" fmla="*/ 0 h 6249745"/>
              <a:gd name="connsiteX1" fmla="*/ 3115646 w 3115646"/>
              <a:gd name="connsiteY1" fmla="*/ 6249745 h 6249745"/>
              <a:gd name="connsiteX2" fmla="*/ 2964294 w 3115646"/>
              <a:gd name="connsiteY2" fmla="*/ 6245918 h 6249745"/>
              <a:gd name="connsiteX3" fmla="*/ 0 w 3115646"/>
              <a:gd name="connsiteY3" fmla="*/ 3124872 h 6249745"/>
              <a:gd name="connsiteX4" fmla="*/ 2964294 w 3115646"/>
              <a:gd name="connsiteY4" fmla="*/ 3827 h 6249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5646" h="6249745">
                <a:moveTo>
                  <a:pt x="3115646" y="0"/>
                </a:moveTo>
                <a:lnTo>
                  <a:pt x="3115646" y="6249745"/>
                </a:lnTo>
                <a:lnTo>
                  <a:pt x="2964294" y="6245918"/>
                </a:lnTo>
                <a:cubicBezTo>
                  <a:pt x="1313079" y="6162218"/>
                  <a:pt x="0" y="4796888"/>
                  <a:pt x="0" y="3124872"/>
                </a:cubicBezTo>
                <a:cubicBezTo>
                  <a:pt x="0" y="1452856"/>
                  <a:pt x="1313079" y="87527"/>
                  <a:pt x="2964294" y="3827"/>
                </a:cubicBezTo>
                <a:close/>
              </a:path>
            </a:pathLst>
          </a:cu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CFC5FEB3-09A6-4461-93E6-F1A49AF3E08D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1447800" y="1466850"/>
            <a:ext cx="5010150" cy="4191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17738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4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A862CFE-1029-4452-AEBB-24A0A8F16ACC}"/>
              </a:ext>
            </a:extLst>
          </p:cNvPr>
          <p:cNvSpPr/>
          <p:nvPr userDrawn="1"/>
        </p:nvSpPr>
        <p:spPr>
          <a:xfrm>
            <a:off x="-281354" y="-158262"/>
            <a:ext cx="12473354" cy="701626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AA8585AA-858C-4743-B450-25BBF470A8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15320" y="1792720"/>
            <a:ext cx="5177417" cy="781286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0">
                <a:solidFill>
                  <a:schemeClr val="bg1"/>
                </a:solidFill>
                <a:effectLst/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A83EB5E3-D7ED-43E9-B5FD-F129C3B469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29138" y="2574006"/>
            <a:ext cx="5161971" cy="1248168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B839388-F910-4453-B4C5-0685BC77719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449016" y="4078718"/>
            <a:ext cx="2383103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39D7DD87-4E9C-4CE6-AB0D-C436B68B3A8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449016" y="4378975"/>
            <a:ext cx="2383104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7FE43B84-2AAB-49BF-AA98-4C9B5FBCA5E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208006" y="4078718"/>
            <a:ext cx="2383103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355EE7D-683C-493D-814B-21EC86617AB0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208006" y="4378975"/>
            <a:ext cx="2383104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489993EB-1FCF-43B1-ADF5-A8B0BDE9298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005651" y="2890891"/>
            <a:ext cx="2193816" cy="2193816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094327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5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28C6F62-8C6E-4A1B-95FF-12E7051DD1A1}"/>
              </a:ext>
            </a:extLst>
          </p:cNvPr>
          <p:cNvGrpSpPr/>
          <p:nvPr userDrawn="1"/>
        </p:nvGrpSpPr>
        <p:grpSpPr>
          <a:xfrm>
            <a:off x="3265868" y="2703044"/>
            <a:ext cx="2933512" cy="2703474"/>
            <a:chOff x="1438275" y="2505075"/>
            <a:chExt cx="2206625" cy="2033588"/>
          </a:xfrm>
          <a:solidFill>
            <a:schemeClr val="tx2">
              <a:lumMod val="50000"/>
            </a:schemeClr>
          </a:solidFill>
        </p:grpSpPr>
        <p:sp>
          <p:nvSpPr>
            <p:cNvPr id="12" name="Oval 177">
              <a:extLst>
                <a:ext uri="{FF2B5EF4-FFF2-40B4-BE49-F238E27FC236}">
                  <a16:creationId xmlns:a16="http://schemas.microsoft.com/office/drawing/2014/main" id="{9170D72F-5218-47FE-99B7-32850EC69B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Oval 178">
              <a:extLst>
                <a:ext uri="{FF2B5EF4-FFF2-40B4-BE49-F238E27FC236}">
                  <a16:creationId xmlns:a16="http://schemas.microsoft.com/office/drawing/2014/main" id="{15248834-146D-4F20-81E4-034A8FC251C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Oval 179">
              <a:extLst>
                <a:ext uri="{FF2B5EF4-FFF2-40B4-BE49-F238E27FC236}">
                  <a16:creationId xmlns:a16="http://schemas.microsoft.com/office/drawing/2014/main" id="{5AFFBF2D-056F-44EC-9211-14156BD623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Oval 180">
              <a:extLst>
                <a:ext uri="{FF2B5EF4-FFF2-40B4-BE49-F238E27FC236}">
                  <a16:creationId xmlns:a16="http://schemas.microsoft.com/office/drawing/2014/main" id="{94A86E46-9CB4-42F0-909A-CE4F81298D2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Oval 181">
              <a:extLst>
                <a:ext uri="{FF2B5EF4-FFF2-40B4-BE49-F238E27FC236}">
                  <a16:creationId xmlns:a16="http://schemas.microsoft.com/office/drawing/2014/main" id="{F7E69B89-A6C7-4157-B34D-0D6D0EFE41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Oval 182">
              <a:extLst>
                <a:ext uri="{FF2B5EF4-FFF2-40B4-BE49-F238E27FC236}">
                  <a16:creationId xmlns:a16="http://schemas.microsoft.com/office/drawing/2014/main" id="{7AE20636-C8CA-47CB-A6FA-194C7C65B34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Oval 183">
              <a:extLst>
                <a:ext uri="{FF2B5EF4-FFF2-40B4-BE49-F238E27FC236}">
                  <a16:creationId xmlns:a16="http://schemas.microsoft.com/office/drawing/2014/main" id="{BF4741D7-157F-441D-BE43-A12B400E70D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184">
              <a:extLst>
                <a:ext uri="{FF2B5EF4-FFF2-40B4-BE49-F238E27FC236}">
                  <a16:creationId xmlns:a16="http://schemas.microsoft.com/office/drawing/2014/main" id="{9B747B6F-5451-4F66-8C36-8CC8EAEB817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Oval 185">
              <a:extLst>
                <a:ext uri="{FF2B5EF4-FFF2-40B4-BE49-F238E27FC236}">
                  <a16:creationId xmlns:a16="http://schemas.microsoft.com/office/drawing/2014/main" id="{D4D6B8CD-8445-445C-8D8E-19964560A8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186">
              <a:extLst>
                <a:ext uri="{FF2B5EF4-FFF2-40B4-BE49-F238E27FC236}">
                  <a16:creationId xmlns:a16="http://schemas.microsoft.com/office/drawing/2014/main" id="{F959E49E-2DB7-4FDE-8F0E-978A3022A7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187">
              <a:extLst>
                <a:ext uri="{FF2B5EF4-FFF2-40B4-BE49-F238E27FC236}">
                  <a16:creationId xmlns:a16="http://schemas.microsoft.com/office/drawing/2014/main" id="{6E4AFCC6-17EA-40C4-BEDF-30724BFCBF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42592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188">
              <a:extLst>
                <a:ext uri="{FF2B5EF4-FFF2-40B4-BE49-F238E27FC236}">
                  <a16:creationId xmlns:a16="http://schemas.microsoft.com/office/drawing/2014/main" id="{790C1B14-6AE0-4931-B2E6-350C20F7A2F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408463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189">
              <a:extLst>
                <a:ext uri="{FF2B5EF4-FFF2-40B4-BE49-F238E27FC236}">
                  <a16:creationId xmlns:a16="http://schemas.microsoft.com/office/drawing/2014/main" id="{C038329B-0324-4EB7-9A76-06229565E1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190">
              <a:extLst>
                <a:ext uri="{FF2B5EF4-FFF2-40B4-BE49-F238E27FC236}">
                  <a16:creationId xmlns:a16="http://schemas.microsoft.com/office/drawing/2014/main" id="{9F94F964-F81E-41B5-B60D-A13F892C301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Oval 191">
              <a:extLst>
                <a:ext uri="{FF2B5EF4-FFF2-40B4-BE49-F238E27FC236}">
                  <a16:creationId xmlns:a16="http://schemas.microsoft.com/office/drawing/2014/main" id="{02E117D0-5074-4570-A79C-7B0057D0D84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192">
              <a:extLst>
                <a:ext uri="{FF2B5EF4-FFF2-40B4-BE49-F238E27FC236}">
                  <a16:creationId xmlns:a16="http://schemas.microsoft.com/office/drawing/2014/main" id="{CCBC6D73-3E06-4E86-B45C-D9D06156FE0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193">
              <a:extLst>
                <a:ext uri="{FF2B5EF4-FFF2-40B4-BE49-F238E27FC236}">
                  <a16:creationId xmlns:a16="http://schemas.microsoft.com/office/drawing/2014/main" id="{2028177D-C163-4C92-A2AB-59707599411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194">
              <a:extLst>
                <a:ext uri="{FF2B5EF4-FFF2-40B4-BE49-F238E27FC236}">
                  <a16:creationId xmlns:a16="http://schemas.microsoft.com/office/drawing/2014/main" id="{1600CAA7-18F1-4208-86FC-04B9FC0C55A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195">
              <a:extLst>
                <a:ext uri="{FF2B5EF4-FFF2-40B4-BE49-F238E27FC236}">
                  <a16:creationId xmlns:a16="http://schemas.microsoft.com/office/drawing/2014/main" id="{71144DE8-18EF-4C6F-B44D-687DFB2661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408463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196">
              <a:extLst>
                <a:ext uri="{FF2B5EF4-FFF2-40B4-BE49-F238E27FC236}">
                  <a16:creationId xmlns:a16="http://schemas.microsoft.com/office/drawing/2014/main" id="{7D471E30-C4E8-49D1-B9A3-DFB9EF69B3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197">
              <a:extLst>
                <a:ext uri="{FF2B5EF4-FFF2-40B4-BE49-F238E27FC236}">
                  <a16:creationId xmlns:a16="http://schemas.microsoft.com/office/drawing/2014/main" id="{104FF50F-27C3-4C86-B711-DB9C15A10CD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198">
              <a:extLst>
                <a:ext uri="{FF2B5EF4-FFF2-40B4-BE49-F238E27FC236}">
                  <a16:creationId xmlns:a16="http://schemas.microsoft.com/office/drawing/2014/main" id="{026024F5-8E40-44F3-9796-A37ABEFB0F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9084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199">
              <a:extLst>
                <a:ext uri="{FF2B5EF4-FFF2-40B4-BE49-F238E27FC236}">
                  <a16:creationId xmlns:a16="http://schemas.microsoft.com/office/drawing/2014/main" id="{045363DA-713E-49ED-A339-619D7B2A74B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200">
              <a:extLst>
                <a:ext uri="{FF2B5EF4-FFF2-40B4-BE49-F238E27FC236}">
                  <a16:creationId xmlns:a16="http://schemas.microsoft.com/office/drawing/2014/main" id="{859E4C73-2A75-4981-9700-E301DA13231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201">
              <a:extLst>
                <a:ext uri="{FF2B5EF4-FFF2-40B4-BE49-F238E27FC236}">
                  <a16:creationId xmlns:a16="http://schemas.microsoft.com/office/drawing/2014/main" id="{80EE41F5-BEAC-439E-902E-0DE3AB54F1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202">
              <a:extLst>
                <a:ext uri="{FF2B5EF4-FFF2-40B4-BE49-F238E27FC236}">
                  <a16:creationId xmlns:a16="http://schemas.microsoft.com/office/drawing/2014/main" id="{5E46C091-881B-4049-A732-0AF762B434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203">
              <a:extLst>
                <a:ext uri="{FF2B5EF4-FFF2-40B4-BE49-F238E27FC236}">
                  <a16:creationId xmlns:a16="http://schemas.microsoft.com/office/drawing/2014/main" id="{BBCD58B6-C5AA-4169-AAFD-014A6C14CC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204">
              <a:extLst>
                <a:ext uri="{FF2B5EF4-FFF2-40B4-BE49-F238E27FC236}">
                  <a16:creationId xmlns:a16="http://schemas.microsoft.com/office/drawing/2014/main" id="{5E472EC8-4D90-4494-A1DE-17F7044D69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205">
              <a:extLst>
                <a:ext uri="{FF2B5EF4-FFF2-40B4-BE49-F238E27FC236}">
                  <a16:creationId xmlns:a16="http://schemas.microsoft.com/office/drawing/2014/main" id="{55399DFD-B015-4A68-B5E1-D36D767FDA7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9084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206">
              <a:extLst>
                <a:ext uri="{FF2B5EF4-FFF2-40B4-BE49-F238E27FC236}">
                  <a16:creationId xmlns:a16="http://schemas.microsoft.com/office/drawing/2014/main" id="{5573C025-A6AA-4CC6-BE03-A5D9414631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207">
              <a:extLst>
                <a:ext uri="{FF2B5EF4-FFF2-40B4-BE49-F238E27FC236}">
                  <a16:creationId xmlns:a16="http://schemas.microsoft.com/office/drawing/2014/main" id="{05203899-2754-467B-BE27-428831C080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Oval 208">
              <a:extLst>
                <a:ext uri="{FF2B5EF4-FFF2-40B4-BE49-F238E27FC236}">
                  <a16:creationId xmlns:a16="http://schemas.microsoft.com/office/drawing/2014/main" id="{E82F2F32-864B-457B-A362-F616CA5D0E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Oval 209">
              <a:extLst>
                <a:ext uri="{FF2B5EF4-FFF2-40B4-BE49-F238E27FC236}">
                  <a16:creationId xmlns:a16="http://schemas.microsoft.com/office/drawing/2014/main" id="{FD6AF7D7-46BB-4017-A8DB-276AC743D2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73380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Oval 210">
              <a:extLst>
                <a:ext uri="{FF2B5EF4-FFF2-40B4-BE49-F238E27FC236}">
                  <a16:creationId xmlns:a16="http://schemas.microsoft.com/office/drawing/2014/main" id="{2AC22917-C45B-4366-9A9A-D4C482C424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Oval 211">
              <a:extLst>
                <a:ext uri="{FF2B5EF4-FFF2-40B4-BE49-F238E27FC236}">
                  <a16:creationId xmlns:a16="http://schemas.microsoft.com/office/drawing/2014/main" id="{782DF7AF-39AD-4C7A-9D3F-0F44EB90C49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Oval 212">
              <a:extLst>
                <a:ext uri="{FF2B5EF4-FFF2-40B4-BE49-F238E27FC236}">
                  <a16:creationId xmlns:a16="http://schemas.microsoft.com/office/drawing/2014/main" id="{1A418B65-E034-40EB-903B-416997803E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Oval 213">
              <a:extLst>
                <a:ext uri="{FF2B5EF4-FFF2-40B4-BE49-F238E27FC236}">
                  <a16:creationId xmlns:a16="http://schemas.microsoft.com/office/drawing/2014/main" id="{48D779D6-6450-4E1A-99A4-DE244E37F9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Oval 214">
              <a:extLst>
                <a:ext uri="{FF2B5EF4-FFF2-40B4-BE49-F238E27FC236}">
                  <a16:creationId xmlns:a16="http://schemas.microsoft.com/office/drawing/2014/main" id="{1ECAFF77-B31A-4979-BB87-A76EF9A41B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Oval 215">
              <a:extLst>
                <a:ext uri="{FF2B5EF4-FFF2-40B4-BE49-F238E27FC236}">
                  <a16:creationId xmlns:a16="http://schemas.microsoft.com/office/drawing/2014/main" id="{F174240F-7B07-4FEB-AD9B-9F2999EF06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Oval 216">
              <a:extLst>
                <a:ext uri="{FF2B5EF4-FFF2-40B4-BE49-F238E27FC236}">
                  <a16:creationId xmlns:a16="http://schemas.microsoft.com/office/drawing/2014/main" id="{B8090E84-F27F-44DD-9AF3-D7610AF3CC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73380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Oval 217">
              <a:extLst>
                <a:ext uri="{FF2B5EF4-FFF2-40B4-BE49-F238E27FC236}">
                  <a16:creationId xmlns:a16="http://schemas.microsoft.com/office/drawing/2014/main" id="{378D456C-A2D6-473B-A5DB-B38C298E77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Oval 218">
              <a:extLst>
                <a:ext uri="{FF2B5EF4-FFF2-40B4-BE49-F238E27FC236}">
                  <a16:creationId xmlns:a16="http://schemas.microsoft.com/office/drawing/2014/main" id="{C28D5EC2-8464-4DAA-9A0C-8FE8B01F9B5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Oval 219">
              <a:extLst>
                <a:ext uri="{FF2B5EF4-FFF2-40B4-BE49-F238E27FC236}">
                  <a16:creationId xmlns:a16="http://schemas.microsoft.com/office/drawing/2014/main" id="{C7143AC0-0B90-4DEA-BCAD-0322696F76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Oval 220">
              <a:extLst>
                <a:ext uri="{FF2B5EF4-FFF2-40B4-BE49-F238E27FC236}">
                  <a16:creationId xmlns:a16="http://schemas.microsoft.com/office/drawing/2014/main" id="{1832E181-733B-47D2-878B-16D5911C27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5575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Oval 221">
              <a:extLst>
                <a:ext uri="{FF2B5EF4-FFF2-40B4-BE49-F238E27FC236}">
                  <a16:creationId xmlns:a16="http://schemas.microsoft.com/office/drawing/2014/main" id="{D17F3914-3434-4338-B066-159C6D5AC9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Oval 222">
              <a:extLst>
                <a:ext uri="{FF2B5EF4-FFF2-40B4-BE49-F238E27FC236}">
                  <a16:creationId xmlns:a16="http://schemas.microsoft.com/office/drawing/2014/main" id="{7F464CA7-C796-477B-A5FC-1EEBB1F0BB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Oval 223">
              <a:extLst>
                <a:ext uri="{FF2B5EF4-FFF2-40B4-BE49-F238E27FC236}">
                  <a16:creationId xmlns:a16="http://schemas.microsoft.com/office/drawing/2014/main" id="{0C337AE7-74E7-45E8-8437-54A0A3884F5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Oval 224">
              <a:extLst>
                <a:ext uri="{FF2B5EF4-FFF2-40B4-BE49-F238E27FC236}">
                  <a16:creationId xmlns:a16="http://schemas.microsoft.com/office/drawing/2014/main" id="{9208E515-15DA-4AD0-A074-FA64362F74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Oval 225">
              <a:extLst>
                <a:ext uri="{FF2B5EF4-FFF2-40B4-BE49-F238E27FC236}">
                  <a16:creationId xmlns:a16="http://schemas.microsoft.com/office/drawing/2014/main" id="{3F8EAB72-641D-4689-AEA6-C39E015CAFD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Oval 226">
              <a:extLst>
                <a:ext uri="{FF2B5EF4-FFF2-40B4-BE49-F238E27FC236}">
                  <a16:creationId xmlns:a16="http://schemas.microsoft.com/office/drawing/2014/main" id="{5CB3B275-FFEF-4377-90E7-4AA2275EAFC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Oval 227">
              <a:extLst>
                <a:ext uri="{FF2B5EF4-FFF2-40B4-BE49-F238E27FC236}">
                  <a16:creationId xmlns:a16="http://schemas.microsoft.com/office/drawing/2014/main" id="{21F81F58-9B0D-413B-8968-F188B77394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5575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Oval 228">
              <a:extLst>
                <a:ext uri="{FF2B5EF4-FFF2-40B4-BE49-F238E27FC236}">
                  <a16:creationId xmlns:a16="http://schemas.microsoft.com/office/drawing/2014/main" id="{FFAB3151-7F40-419A-B807-E9070B0C25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229">
              <a:extLst>
                <a:ext uri="{FF2B5EF4-FFF2-40B4-BE49-F238E27FC236}">
                  <a16:creationId xmlns:a16="http://schemas.microsoft.com/office/drawing/2014/main" id="{592D1086-EED3-4157-97D8-322A6560DA1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Oval 230">
              <a:extLst>
                <a:ext uri="{FF2B5EF4-FFF2-40B4-BE49-F238E27FC236}">
                  <a16:creationId xmlns:a16="http://schemas.microsoft.com/office/drawing/2014/main" id="{41E1C6D0-E253-4455-AAC1-FCD5C3D6C4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4382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Oval 231">
              <a:extLst>
                <a:ext uri="{FF2B5EF4-FFF2-40B4-BE49-F238E27FC236}">
                  <a16:creationId xmlns:a16="http://schemas.microsoft.com/office/drawing/2014/main" id="{D3CC7C4D-23E6-4285-9193-1BE2257E8C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Oval 232">
              <a:extLst>
                <a:ext uri="{FF2B5EF4-FFF2-40B4-BE49-F238E27FC236}">
                  <a16:creationId xmlns:a16="http://schemas.microsoft.com/office/drawing/2014/main" id="{179C02BF-249A-4C87-80DB-E5F335BF6F6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3829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Oval 233">
              <a:extLst>
                <a:ext uri="{FF2B5EF4-FFF2-40B4-BE49-F238E27FC236}">
                  <a16:creationId xmlns:a16="http://schemas.microsoft.com/office/drawing/2014/main" id="{558DE90C-3782-4232-A71E-E5D777E2CC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234">
              <a:extLst>
                <a:ext uri="{FF2B5EF4-FFF2-40B4-BE49-F238E27FC236}">
                  <a16:creationId xmlns:a16="http://schemas.microsoft.com/office/drawing/2014/main" id="{22E9A398-9C29-4EDA-B84E-985734D6E8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235">
              <a:extLst>
                <a:ext uri="{FF2B5EF4-FFF2-40B4-BE49-F238E27FC236}">
                  <a16:creationId xmlns:a16="http://schemas.microsoft.com/office/drawing/2014/main" id="{2200FDAB-435B-4211-A856-E8D19257CA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236">
              <a:extLst>
                <a:ext uri="{FF2B5EF4-FFF2-40B4-BE49-F238E27FC236}">
                  <a16:creationId xmlns:a16="http://schemas.microsoft.com/office/drawing/2014/main" id="{10DC740B-9BC5-43A1-BB58-BE87494D59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237">
              <a:extLst>
                <a:ext uri="{FF2B5EF4-FFF2-40B4-BE49-F238E27FC236}">
                  <a16:creationId xmlns:a16="http://schemas.microsoft.com/office/drawing/2014/main" id="{50305315-CED7-4869-B961-319B24BF237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Oval 238">
              <a:extLst>
                <a:ext uri="{FF2B5EF4-FFF2-40B4-BE49-F238E27FC236}">
                  <a16:creationId xmlns:a16="http://schemas.microsoft.com/office/drawing/2014/main" id="{E2F85D16-C9F2-45B9-8159-BCF6DC4ACBB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Oval 239">
              <a:extLst>
                <a:ext uri="{FF2B5EF4-FFF2-40B4-BE49-F238E27FC236}">
                  <a16:creationId xmlns:a16="http://schemas.microsoft.com/office/drawing/2014/main" id="{6A51BC2B-D84F-41C0-B8AF-6959E9F1CE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3829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Oval 240">
              <a:extLst>
                <a:ext uri="{FF2B5EF4-FFF2-40B4-BE49-F238E27FC236}">
                  <a16:creationId xmlns:a16="http://schemas.microsoft.com/office/drawing/2014/main" id="{7C57D0E3-60A7-4AEC-B9B1-A2F9EB9B043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Oval 241">
              <a:extLst>
                <a:ext uri="{FF2B5EF4-FFF2-40B4-BE49-F238E27FC236}">
                  <a16:creationId xmlns:a16="http://schemas.microsoft.com/office/drawing/2014/main" id="{8099527B-0762-40C1-A32F-5C4A195AD3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Oval 242">
              <a:extLst>
                <a:ext uri="{FF2B5EF4-FFF2-40B4-BE49-F238E27FC236}">
                  <a16:creationId xmlns:a16="http://schemas.microsoft.com/office/drawing/2014/main" id="{7CC1D54F-D440-4AB3-8402-1DF0894B72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54171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Oval 243">
              <a:extLst>
                <a:ext uri="{FF2B5EF4-FFF2-40B4-BE49-F238E27FC236}">
                  <a16:creationId xmlns:a16="http://schemas.microsoft.com/office/drawing/2014/main" id="{9B232564-8C77-461F-9BB2-8A5B272AF4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Oval 244">
              <a:extLst>
                <a:ext uri="{FF2B5EF4-FFF2-40B4-BE49-F238E27FC236}">
                  <a16:creationId xmlns:a16="http://schemas.microsoft.com/office/drawing/2014/main" id="{8BE3541A-1B88-4E47-B508-70377F1130F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20675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Oval 245">
              <a:extLst>
                <a:ext uri="{FF2B5EF4-FFF2-40B4-BE49-F238E27FC236}">
                  <a16:creationId xmlns:a16="http://schemas.microsoft.com/office/drawing/2014/main" id="{02DDE591-1691-4A39-845B-01467B777C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Oval 246">
              <a:extLst>
                <a:ext uri="{FF2B5EF4-FFF2-40B4-BE49-F238E27FC236}">
                  <a16:creationId xmlns:a16="http://schemas.microsoft.com/office/drawing/2014/main" id="{05786D26-966F-4CE5-8A40-51816DFADD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Oval 247">
              <a:extLst>
                <a:ext uri="{FF2B5EF4-FFF2-40B4-BE49-F238E27FC236}">
                  <a16:creationId xmlns:a16="http://schemas.microsoft.com/office/drawing/2014/main" id="{452BCE0F-1336-4B7C-B591-B706381E7B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Oval 248">
              <a:extLst>
                <a:ext uri="{FF2B5EF4-FFF2-40B4-BE49-F238E27FC236}">
                  <a16:creationId xmlns:a16="http://schemas.microsoft.com/office/drawing/2014/main" id="{1A875230-5701-4CA9-81ED-4D804900E6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Oval 249">
              <a:extLst>
                <a:ext uri="{FF2B5EF4-FFF2-40B4-BE49-F238E27FC236}">
                  <a16:creationId xmlns:a16="http://schemas.microsoft.com/office/drawing/2014/main" id="{630E7AA8-6059-4896-810C-F9964AEFE6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Oval 250">
              <a:extLst>
                <a:ext uri="{FF2B5EF4-FFF2-40B4-BE49-F238E27FC236}">
                  <a16:creationId xmlns:a16="http://schemas.microsoft.com/office/drawing/2014/main" id="{1C97185D-3906-487C-81FA-4BD2BED8B27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Oval 251">
              <a:extLst>
                <a:ext uri="{FF2B5EF4-FFF2-40B4-BE49-F238E27FC236}">
                  <a16:creationId xmlns:a16="http://schemas.microsoft.com/office/drawing/2014/main" id="{4A0C169F-5995-4E43-A16B-A4E1B9D57E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20675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Oval 252">
              <a:extLst>
                <a:ext uri="{FF2B5EF4-FFF2-40B4-BE49-F238E27FC236}">
                  <a16:creationId xmlns:a16="http://schemas.microsoft.com/office/drawing/2014/main" id="{0C2E4606-3DC4-43E3-9E75-9BA0F087EEB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Oval 253">
              <a:extLst>
                <a:ext uri="{FF2B5EF4-FFF2-40B4-BE49-F238E27FC236}">
                  <a16:creationId xmlns:a16="http://schemas.microsoft.com/office/drawing/2014/main" id="{7BB5CCEE-1C75-4A3A-B840-818DE2C2B9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Oval 254">
              <a:extLst>
                <a:ext uri="{FF2B5EF4-FFF2-40B4-BE49-F238E27FC236}">
                  <a16:creationId xmlns:a16="http://schemas.microsoft.com/office/drawing/2014/main" id="{9FFAF4A3-02F1-4A8B-988A-2C8191761EF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Oval 255">
              <a:extLst>
                <a:ext uri="{FF2B5EF4-FFF2-40B4-BE49-F238E27FC236}">
                  <a16:creationId xmlns:a16="http://schemas.microsoft.com/office/drawing/2014/main" id="{C22B326F-1940-4C15-8C1C-6B2988CA0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0321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Oval 256">
              <a:extLst>
                <a:ext uri="{FF2B5EF4-FFF2-40B4-BE49-F238E27FC236}">
                  <a16:creationId xmlns:a16="http://schemas.microsoft.com/office/drawing/2014/main" id="{59725160-005F-4580-A835-A991B448E3A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Oval 257">
              <a:extLst>
                <a:ext uri="{FF2B5EF4-FFF2-40B4-BE49-F238E27FC236}">
                  <a16:creationId xmlns:a16="http://schemas.microsoft.com/office/drawing/2014/main" id="{616D56DF-54EA-4361-B7E6-02F1F59625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Oval 258">
              <a:extLst>
                <a:ext uri="{FF2B5EF4-FFF2-40B4-BE49-F238E27FC236}">
                  <a16:creationId xmlns:a16="http://schemas.microsoft.com/office/drawing/2014/main" id="{0921E359-1781-4E99-B0CA-F8E663BCC9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Oval 259">
              <a:extLst>
                <a:ext uri="{FF2B5EF4-FFF2-40B4-BE49-F238E27FC236}">
                  <a16:creationId xmlns:a16="http://schemas.microsoft.com/office/drawing/2014/main" id="{B304C139-7EB5-4A0B-A223-D6201C96682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Oval 260">
              <a:extLst>
                <a:ext uri="{FF2B5EF4-FFF2-40B4-BE49-F238E27FC236}">
                  <a16:creationId xmlns:a16="http://schemas.microsoft.com/office/drawing/2014/main" id="{881AF5B0-820B-4DCC-8236-658C27497E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261">
              <a:extLst>
                <a:ext uri="{FF2B5EF4-FFF2-40B4-BE49-F238E27FC236}">
                  <a16:creationId xmlns:a16="http://schemas.microsoft.com/office/drawing/2014/main" id="{826C20DA-5690-423A-8FBA-C78AEB790F7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Oval 262">
              <a:extLst>
                <a:ext uri="{FF2B5EF4-FFF2-40B4-BE49-F238E27FC236}">
                  <a16:creationId xmlns:a16="http://schemas.microsoft.com/office/drawing/2014/main" id="{153EA704-CACF-4D68-90E1-E028EEB0CC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0321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Oval 263">
              <a:extLst>
                <a:ext uri="{FF2B5EF4-FFF2-40B4-BE49-F238E27FC236}">
                  <a16:creationId xmlns:a16="http://schemas.microsoft.com/office/drawing/2014/main" id="{AE2B7AF4-D9B3-4F91-9BD6-CC73F214DB1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264">
              <a:extLst>
                <a:ext uri="{FF2B5EF4-FFF2-40B4-BE49-F238E27FC236}">
                  <a16:creationId xmlns:a16="http://schemas.microsoft.com/office/drawing/2014/main" id="{2FF81B77-BB8F-4DDF-B9FF-75807C46A9D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265">
              <a:extLst>
                <a:ext uri="{FF2B5EF4-FFF2-40B4-BE49-F238E27FC236}">
                  <a16:creationId xmlns:a16="http://schemas.microsoft.com/office/drawing/2014/main" id="{3A859FFE-DCEA-4A2A-885D-EBF07A3B6D7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285591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266">
              <a:extLst>
                <a:ext uri="{FF2B5EF4-FFF2-40B4-BE49-F238E27FC236}">
                  <a16:creationId xmlns:a16="http://schemas.microsoft.com/office/drawing/2014/main" id="{3EEE1781-1827-484F-B0FA-495990D5151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267">
              <a:extLst>
                <a:ext uri="{FF2B5EF4-FFF2-40B4-BE49-F238E27FC236}">
                  <a16:creationId xmlns:a16="http://schemas.microsoft.com/office/drawing/2014/main" id="{648C5328-5A01-462B-A5F4-B9425EAB0E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268">
              <a:extLst>
                <a:ext uri="{FF2B5EF4-FFF2-40B4-BE49-F238E27FC236}">
                  <a16:creationId xmlns:a16="http://schemas.microsoft.com/office/drawing/2014/main" id="{D163C899-7388-4CD2-AA3D-794C45FEFDC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269">
              <a:extLst>
                <a:ext uri="{FF2B5EF4-FFF2-40B4-BE49-F238E27FC236}">
                  <a16:creationId xmlns:a16="http://schemas.microsoft.com/office/drawing/2014/main" id="{6B7DAF3C-3778-45A6-84C4-ACC59F872B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270">
              <a:extLst>
                <a:ext uri="{FF2B5EF4-FFF2-40B4-BE49-F238E27FC236}">
                  <a16:creationId xmlns:a16="http://schemas.microsoft.com/office/drawing/2014/main" id="{D0F86890-4385-48E9-AD56-E3337CB117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271">
              <a:extLst>
                <a:ext uri="{FF2B5EF4-FFF2-40B4-BE49-F238E27FC236}">
                  <a16:creationId xmlns:a16="http://schemas.microsoft.com/office/drawing/2014/main" id="{219C6A11-6920-4C59-B4A2-F94EDCBB7C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272">
              <a:extLst>
                <a:ext uri="{FF2B5EF4-FFF2-40B4-BE49-F238E27FC236}">
                  <a16:creationId xmlns:a16="http://schemas.microsoft.com/office/drawing/2014/main" id="{86590654-A9A8-42FC-BCE4-BC6BDB73DB7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285591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273">
              <a:extLst>
                <a:ext uri="{FF2B5EF4-FFF2-40B4-BE49-F238E27FC236}">
                  <a16:creationId xmlns:a16="http://schemas.microsoft.com/office/drawing/2014/main" id="{C8306EE1-C28E-4BA9-A175-182604811A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274">
              <a:extLst>
                <a:ext uri="{FF2B5EF4-FFF2-40B4-BE49-F238E27FC236}">
                  <a16:creationId xmlns:a16="http://schemas.microsoft.com/office/drawing/2014/main" id="{FE9E9B9D-0F13-4D82-A759-D6DADC4BA6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275">
              <a:extLst>
                <a:ext uri="{FF2B5EF4-FFF2-40B4-BE49-F238E27FC236}">
                  <a16:creationId xmlns:a16="http://schemas.microsoft.com/office/drawing/2014/main" id="{3858EB95-01E5-4F62-8DD7-8AF4BC01EFF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276">
              <a:extLst>
                <a:ext uri="{FF2B5EF4-FFF2-40B4-BE49-F238E27FC236}">
                  <a16:creationId xmlns:a16="http://schemas.microsoft.com/office/drawing/2014/main" id="{6694610C-D40F-4EC2-8BF1-AFF706BDD1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Oval 277">
              <a:extLst>
                <a:ext uri="{FF2B5EF4-FFF2-40B4-BE49-F238E27FC236}">
                  <a16:creationId xmlns:a16="http://schemas.microsoft.com/office/drawing/2014/main" id="{9E486EDF-EEC2-4E57-BCDD-CB068756B94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Oval 278">
              <a:extLst>
                <a:ext uri="{FF2B5EF4-FFF2-40B4-BE49-F238E27FC236}">
                  <a16:creationId xmlns:a16="http://schemas.microsoft.com/office/drawing/2014/main" id="{0C545836-00A0-4332-AD9F-F595088B7B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Oval 279">
              <a:extLst>
                <a:ext uri="{FF2B5EF4-FFF2-40B4-BE49-F238E27FC236}">
                  <a16:creationId xmlns:a16="http://schemas.microsoft.com/office/drawing/2014/main" id="{B6D5FDEA-2503-4EA9-8275-73E7B10941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Oval 280">
              <a:extLst>
                <a:ext uri="{FF2B5EF4-FFF2-40B4-BE49-F238E27FC236}">
                  <a16:creationId xmlns:a16="http://schemas.microsoft.com/office/drawing/2014/main" id="{B1E560B8-1D67-4D88-995C-8F0EB1AB6A4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26812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Oval 281">
              <a:extLst>
                <a:ext uri="{FF2B5EF4-FFF2-40B4-BE49-F238E27FC236}">
                  <a16:creationId xmlns:a16="http://schemas.microsoft.com/office/drawing/2014/main" id="{A68D4D0F-EBD9-4499-A848-5194844D39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Oval 282">
              <a:extLst>
                <a:ext uri="{FF2B5EF4-FFF2-40B4-BE49-F238E27FC236}">
                  <a16:creationId xmlns:a16="http://schemas.microsoft.com/office/drawing/2014/main" id="{39574505-6FE0-4A69-869B-E02C385717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Oval 283">
              <a:extLst>
                <a:ext uri="{FF2B5EF4-FFF2-40B4-BE49-F238E27FC236}">
                  <a16:creationId xmlns:a16="http://schemas.microsoft.com/office/drawing/2014/main" id="{61C4910E-DED6-4D13-9CA7-8F10843ACC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2152DAF9-C1F7-43BC-A77F-A91160AFBA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20799" y="584466"/>
            <a:ext cx="5457654" cy="506942"/>
          </a:xfrm>
        </p:spPr>
        <p:txBody>
          <a:bodyPr>
            <a:normAutofit/>
          </a:bodyPr>
          <a:lstStyle>
            <a:lvl1pPr marL="0" indent="0" algn="ctr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1D5B55A1-6C6E-4B90-924A-DFAF50BB06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39626" y="1126262"/>
            <a:ext cx="5435406" cy="750664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7" name="Picture Placeholder 126">
            <a:extLst>
              <a:ext uri="{FF2B5EF4-FFF2-40B4-BE49-F238E27FC236}">
                <a16:creationId xmlns:a16="http://schemas.microsoft.com/office/drawing/2014/main" id="{687FBEF7-9A93-4200-BBE1-29C9AA6C574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939284" y="2425651"/>
            <a:ext cx="2897139" cy="2912520"/>
          </a:xfrm>
          <a:custGeom>
            <a:avLst/>
            <a:gdLst>
              <a:gd name="connsiteX0" fmla="*/ 1486471 w 2897139"/>
              <a:gd name="connsiteY0" fmla="*/ 0 h 2912520"/>
              <a:gd name="connsiteX1" fmla="*/ 2719076 w 2897139"/>
              <a:gd name="connsiteY1" fmla="*/ 655371 h 2912520"/>
              <a:gd name="connsiteX2" fmla="*/ 2723046 w 2897139"/>
              <a:gd name="connsiteY2" fmla="*/ 661906 h 2912520"/>
              <a:gd name="connsiteX3" fmla="*/ 2719353 w 2897139"/>
              <a:gd name="connsiteY3" fmla="*/ 664954 h 2912520"/>
              <a:gd name="connsiteX4" fmla="*/ 2624946 w 2897139"/>
              <a:gd name="connsiteY4" fmla="*/ 892871 h 2912520"/>
              <a:gd name="connsiteX5" fmla="*/ 2821807 w 2897139"/>
              <a:gd name="connsiteY5" fmla="*/ 1189865 h 2912520"/>
              <a:gd name="connsiteX6" fmla="*/ 2839532 w 2897139"/>
              <a:gd name="connsiteY6" fmla="*/ 1195367 h 2912520"/>
              <a:gd name="connsiteX7" fmla="*/ 2791787 w 2897139"/>
              <a:gd name="connsiteY7" fmla="*/ 1349174 h 2912520"/>
              <a:gd name="connsiteX8" fmla="*/ 2774567 w 2897139"/>
              <a:gd name="connsiteY8" fmla="*/ 1519994 h 2912520"/>
              <a:gd name="connsiteX9" fmla="*/ 2841175 w 2897139"/>
              <a:gd name="connsiteY9" fmla="*/ 1849916 h 2912520"/>
              <a:gd name="connsiteX10" fmla="*/ 2897139 w 2897139"/>
              <a:gd name="connsiteY10" fmla="*/ 1953022 h 2912520"/>
              <a:gd name="connsiteX11" fmla="*/ 2856128 w 2897139"/>
              <a:gd name="connsiteY11" fmla="*/ 2065073 h 2912520"/>
              <a:gd name="connsiteX12" fmla="*/ 1928502 w 2897139"/>
              <a:gd name="connsiteY12" fmla="*/ 2906113 h 2912520"/>
              <a:gd name="connsiteX13" fmla="*/ 1903588 w 2897139"/>
              <a:gd name="connsiteY13" fmla="*/ 2912520 h 2912520"/>
              <a:gd name="connsiteX14" fmla="*/ 1832613 w 2897139"/>
              <a:gd name="connsiteY14" fmla="*/ 2853960 h 2912520"/>
              <a:gd name="connsiteX15" fmla="*/ 1426074 w 2897139"/>
              <a:gd name="connsiteY15" fmla="*/ 2729779 h 2912520"/>
              <a:gd name="connsiteX16" fmla="*/ 1143047 w 2897139"/>
              <a:gd name="connsiteY16" fmla="*/ 2786920 h 2912520"/>
              <a:gd name="connsiteX17" fmla="*/ 1108440 w 2897139"/>
              <a:gd name="connsiteY17" fmla="*/ 2805704 h 2912520"/>
              <a:gd name="connsiteX18" fmla="*/ 1112274 w 2897139"/>
              <a:gd name="connsiteY18" fmla="*/ 2729779 h 2912520"/>
              <a:gd name="connsiteX19" fmla="*/ 115457 w 2897139"/>
              <a:gd name="connsiteY19" fmla="*/ 1625169 h 2912520"/>
              <a:gd name="connsiteX20" fmla="*/ 6727 w 2897139"/>
              <a:gd name="connsiteY20" fmla="*/ 1619678 h 2912520"/>
              <a:gd name="connsiteX21" fmla="*/ 0 w 2897139"/>
              <a:gd name="connsiteY21" fmla="*/ 1486471 h 2912520"/>
              <a:gd name="connsiteX22" fmla="*/ 1486471 w 2897139"/>
              <a:gd name="connsiteY22" fmla="*/ 0 h 291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897139" h="2912520">
                <a:moveTo>
                  <a:pt x="1486471" y="0"/>
                </a:moveTo>
                <a:cubicBezTo>
                  <a:pt x="1999568" y="0"/>
                  <a:pt x="2451947" y="259967"/>
                  <a:pt x="2719076" y="655371"/>
                </a:cubicBezTo>
                <a:lnTo>
                  <a:pt x="2723046" y="661906"/>
                </a:lnTo>
                <a:lnTo>
                  <a:pt x="2719353" y="664954"/>
                </a:lnTo>
                <a:cubicBezTo>
                  <a:pt x="2661024" y="723283"/>
                  <a:pt x="2624946" y="803864"/>
                  <a:pt x="2624946" y="892871"/>
                </a:cubicBezTo>
                <a:cubicBezTo>
                  <a:pt x="2624946" y="1026382"/>
                  <a:pt x="2706120" y="1140934"/>
                  <a:pt x="2821807" y="1189865"/>
                </a:cubicBezTo>
                <a:lnTo>
                  <a:pt x="2839532" y="1195367"/>
                </a:lnTo>
                <a:lnTo>
                  <a:pt x="2791787" y="1349174"/>
                </a:lnTo>
                <a:cubicBezTo>
                  <a:pt x="2780497" y="1404351"/>
                  <a:pt x="2774567" y="1461480"/>
                  <a:pt x="2774567" y="1519994"/>
                </a:cubicBezTo>
                <a:cubicBezTo>
                  <a:pt x="2774567" y="1637022"/>
                  <a:pt x="2798285" y="1748511"/>
                  <a:pt x="2841175" y="1849916"/>
                </a:cubicBezTo>
                <a:lnTo>
                  <a:pt x="2897139" y="1953022"/>
                </a:lnTo>
                <a:lnTo>
                  <a:pt x="2856128" y="2065073"/>
                </a:lnTo>
                <a:cubicBezTo>
                  <a:pt x="2686884" y="2465210"/>
                  <a:pt x="2347414" y="2775818"/>
                  <a:pt x="1928502" y="2906113"/>
                </a:cubicBezTo>
                <a:lnTo>
                  <a:pt x="1903588" y="2912520"/>
                </a:lnTo>
                <a:lnTo>
                  <a:pt x="1832613" y="2853960"/>
                </a:lnTo>
                <a:cubicBezTo>
                  <a:pt x="1716564" y="2775559"/>
                  <a:pt x="1576665" y="2729779"/>
                  <a:pt x="1426074" y="2729779"/>
                </a:cubicBezTo>
                <a:cubicBezTo>
                  <a:pt x="1325680" y="2729779"/>
                  <a:pt x="1230038" y="2750126"/>
                  <a:pt x="1143047" y="2786920"/>
                </a:cubicBezTo>
                <a:lnTo>
                  <a:pt x="1108440" y="2805704"/>
                </a:lnTo>
                <a:lnTo>
                  <a:pt x="1112274" y="2729779"/>
                </a:lnTo>
                <a:cubicBezTo>
                  <a:pt x="1112274" y="2154880"/>
                  <a:pt x="675355" y="1682029"/>
                  <a:pt x="115457" y="1625169"/>
                </a:cubicBezTo>
                <a:lnTo>
                  <a:pt x="6727" y="1619678"/>
                </a:lnTo>
                <a:lnTo>
                  <a:pt x="0" y="1486471"/>
                </a:lnTo>
                <a:cubicBezTo>
                  <a:pt x="0" y="665516"/>
                  <a:pt x="665516" y="0"/>
                  <a:pt x="1486471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8B9957E6-7FFA-4064-AD2A-1B9981C4285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6412" y="2554369"/>
            <a:ext cx="2181398" cy="553377"/>
          </a:xfrm>
        </p:spPr>
        <p:txBody>
          <a:bodyPr>
            <a:normAutofit/>
          </a:bodyPr>
          <a:lstStyle>
            <a:lvl1pPr marL="0" indent="0" algn="l">
              <a:buNone/>
              <a:defRPr sz="1600" b="1" u="sng" spc="0">
                <a:solidFill>
                  <a:srgbClr val="474747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EA0AE086-E2D7-418F-930A-448BD5AF72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6411" y="3150870"/>
            <a:ext cx="2181611" cy="93276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45D24C0C-5A75-4A45-9960-1583E4684F4A}"/>
              </a:ext>
            </a:extLst>
          </p:cNvPr>
          <p:cNvSpPr/>
          <p:nvPr userDrawn="1"/>
        </p:nvSpPr>
        <p:spPr>
          <a:xfrm>
            <a:off x="3828940" y="4054781"/>
            <a:ext cx="2220686" cy="2220686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5E0CE1C-583D-45DC-A37D-6948C67CA745}"/>
              </a:ext>
            </a:extLst>
          </p:cNvPr>
          <p:cNvSpPr/>
          <p:nvPr userDrawn="1"/>
        </p:nvSpPr>
        <p:spPr>
          <a:xfrm>
            <a:off x="5636308" y="5165124"/>
            <a:ext cx="1454236" cy="1454236"/>
          </a:xfrm>
          <a:prstGeom prst="ellipse">
            <a:avLst/>
          </a:prstGeom>
          <a:solidFill>
            <a:schemeClr val="accent6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1FEB4AE3-AD67-4165-A907-32B8BBAF3960}"/>
              </a:ext>
            </a:extLst>
          </p:cNvPr>
          <p:cNvSpPr/>
          <p:nvPr userDrawn="1"/>
        </p:nvSpPr>
        <p:spPr>
          <a:xfrm>
            <a:off x="7711919" y="3107746"/>
            <a:ext cx="1695186" cy="1695186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5A12372D-59AA-42CA-B9B6-FD295EEBEF00}"/>
              </a:ext>
            </a:extLst>
          </p:cNvPr>
          <p:cNvSpPr/>
          <p:nvPr userDrawn="1"/>
        </p:nvSpPr>
        <p:spPr>
          <a:xfrm>
            <a:off x="7562298" y="3005892"/>
            <a:ext cx="644648" cy="644648"/>
          </a:xfrm>
          <a:prstGeom prst="ellipse">
            <a:avLst/>
          </a:prstGeom>
          <a:solidFill>
            <a:schemeClr val="accent6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8" name="Text Placeholder 11">
            <a:extLst>
              <a:ext uri="{FF2B5EF4-FFF2-40B4-BE49-F238E27FC236}">
                <a16:creationId xmlns:a16="http://schemas.microsoft.com/office/drawing/2014/main" id="{05B11A24-65DA-4815-9382-2E5945DD8E2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98716" y="4488588"/>
            <a:ext cx="2181398" cy="553377"/>
          </a:xfrm>
        </p:spPr>
        <p:txBody>
          <a:bodyPr>
            <a:normAutofit/>
          </a:bodyPr>
          <a:lstStyle>
            <a:lvl1pPr marL="0" indent="0" algn="l">
              <a:buNone/>
              <a:defRPr sz="1600" b="1" u="sng" spc="0">
                <a:solidFill>
                  <a:srgbClr val="474747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9" name="Text Placeholder 11">
            <a:extLst>
              <a:ext uri="{FF2B5EF4-FFF2-40B4-BE49-F238E27FC236}">
                <a16:creationId xmlns:a16="http://schemas.microsoft.com/office/drawing/2014/main" id="{6404C0ED-B780-4517-B5E0-289DF52E3E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98715" y="5085089"/>
            <a:ext cx="2181611" cy="93276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0" name="Text Placeholder 11">
            <a:extLst>
              <a:ext uri="{FF2B5EF4-FFF2-40B4-BE49-F238E27FC236}">
                <a16:creationId xmlns:a16="http://schemas.microsoft.com/office/drawing/2014/main" id="{0743CA1A-7140-4CD5-BF8A-9064B44A5E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38075" y="3828919"/>
            <a:ext cx="1066892" cy="356756"/>
          </a:xfrm>
        </p:spPr>
        <p:txBody>
          <a:bodyPr>
            <a:noAutofit/>
          </a:bodyPr>
          <a:lstStyle>
            <a:lvl1pPr marL="0" indent="0" algn="ctr">
              <a:buNone/>
              <a:defRPr sz="2400" b="1" u="none" spc="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1" name="Text Placeholder 11">
            <a:extLst>
              <a:ext uri="{FF2B5EF4-FFF2-40B4-BE49-F238E27FC236}">
                <a16:creationId xmlns:a16="http://schemas.microsoft.com/office/drawing/2014/main" id="{7CE0B559-E450-4D34-BDB8-A28B735FDA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45759" y="4899847"/>
            <a:ext cx="1537118" cy="704979"/>
          </a:xfrm>
        </p:spPr>
        <p:txBody>
          <a:bodyPr>
            <a:noAutofit/>
          </a:bodyPr>
          <a:lstStyle>
            <a:lvl1pPr marL="0" indent="0" algn="ctr">
              <a:buNone/>
              <a:defRPr sz="3600" b="1" u="none" spc="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cxnSp>
        <p:nvCxnSpPr>
          <p:cNvPr id="136" name="Connector: Curved 135">
            <a:extLst>
              <a:ext uri="{FF2B5EF4-FFF2-40B4-BE49-F238E27FC236}">
                <a16:creationId xmlns:a16="http://schemas.microsoft.com/office/drawing/2014/main" id="{B8802568-BB0F-4F01-AF1F-EDB1B617AF49}"/>
              </a:ext>
            </a:extLst>
          </p:cNvPr>
          <p:cNvCxnSpPr>
            <a:stCxn id="2" idx="2"/>
            <a:endCxn id="9" idx="2"/>
          </p:cNvCxnSpPr>
          <p:nvPr userDrawn="1"/>
        </p:nvCxnSpPr>
        <p:spPr>
          <a:xfrm rot="10800000">
            <a:off x="1697218" y="4083636"/>
            <a:ext cx="2131723" cy="1081489"/>
          </a:xfrm>
          <a:prstGeom prst="curvedConnector2">
            <a:avLst/>
          </a:prstGeom>
          <a:ln>
            <a:solidFill>
              <a:schemeClr val="tx2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or: Curved 137">
            <a:extLst>
              <a:ext uri="{FF2B5EF4-FFF2-40B4-BE49-F238E27FC236}">
                <a16:creationId xmlns:a16="http://schemas.microsoft.com/office/drawing/2014/main" id="{F940B9BE-35C5-4F4E-BAD4-712FCD06C2F2}"/>
              </a:ext>
            </a:extLst>
          </p:cNvPr>
          <p:cNvCxnSpPr>
            <a:stCxn id="119" idx="6"/>
            <a:endCxn id="128" idx="0"/>
          </p:cNvCxnSpPr>
          <p:nvPr userDrawn="1"/>
        </p:nvCxnSpPr>
        <p:spPr>
          <a:xfrm>
            <a:off x="9407105" y="3955339"/>
            <a:ext cx="1182310" cy="533249"/>
          </a:xfrm>
          <a:prstGeom prst="curvedConnector2">
            <a:avLst/>
          </a:prstGeom>
          <a:ln>
            <a:solidFill>
              <a:schemeClr val="tx2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091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8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9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" grpId="0" animBg="1"/>
      <p:bldP spid="10" grpId="0" animBg="1"/>
      <p:bldP spid="119" grpId="0" animBg="1"/>
      <p:bldP spid="120" grpId="0" animBg="1"/>
      <p:bldP spid="128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28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9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29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0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30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31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7146A910-4728-4CA4-9600-3D87A812E9BE}"/>
              </a:ext>
            </a:extLst>
          </p:cNvPr>
          <p:cNvSpPr/>
          <p:nvPr userDrawn="1"/>
        </p:nvSpPr>
        <p:spPr>
          <a:xfrm flipH="1">
            <a:off x="0" y="-8501"/>
            <a:ext cx="3427352" cy="6875003"/>
          </a:xfrm>
          <a:custGeom>
            <a:avLst/>
            <a:gdLst>
              <a:gd name="connsiteX0" fmla="*/ 3115646 w 3115646"/>
              <a:gd name="connsiteY0" fmla="*/ 0 h 6249745"/>
              <a:gd name="connsiteX1" fmla="*/ 3115646 w 3115646"/>
              <a:gd name="connsiteY1" fmla="*/ 6249745 h 6249745"/>
              <a:gd name="connsiteX2" fmla="*/ 2964294 w 3115646"/>
              <a:gd name="connsiteY2" fmla="*/ 6245918 h 6249745"/>
              <a:gd name="connsiteX3" fmla="*/ 0 w 3115646"/>
              <a:gd name="connsiteY3" fmla="*/ 3124872 h 6249745"/>
              <a:gd name="connsiteX4" fmla="*/ 2964294 w 3115646"/>
              <a:gd name="connsiteY4" fmla="*/ 3827 h 6249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5646" h="6249745">
                <a:moveTo>
                  <a:pt x="3115646" y="0"/>
                </a:moveTo>
                <a:lnTo>
                  <a:pt x="3115646" y="6249745"/>
                </a:lnTo>
                <a:lnTo>
                  <a:pt x="2964294" y="6245918"/>
                </a:lnTo>
                <a:cubicBezTo>
                  <a:pt x="1313079" y="6162218"/>
                  <a:pt x="0" y="4796888"/>
                  <a:pt x="0" y="3124872"/>
                </a:cubicBezTo>
                <a:cubicBezTo>
                  <a:pt x="0" y="1452856"/>
                  <a:pt x="1313079" y="87527"/>
                  <a:pt x="2964294" y="3827"/>
                </a:cubicBezTo>
                <a:close/>
              </a:path>
            </a:pathLst>
          </a:cu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86CB78A-8D46-4FBD-A521-D4C144D54E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8864" y="2104580"/>
            <a:ext cx="5156392" cy="3091376"/>
          </a:xfrm>
          <a:prstGeom prst="rect">
            <a:avLst/>
          </a:prstGeom>
        </p:spPr>
      </p:pic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BBA05CC-3ED3-4908-9865-1B0B0BCD14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20664" y="2322368"/>
            <a:ext cx="3964131" cy="2483427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7351261C-D97A-48FC-81F7-18D73F1365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07811" y="1165865"/>
            <a:ext cx="4453378" cy="922897"/>
          </a:xfrm>
        </p:spPr>
        <p:txBody>
          <a:bodyPr>
            <a:normAutofit/>
          </a:bodyPr>
          <a:lstStyle>
            <a:lvl1pPr marL="0" indent="0" algn="l">
              <a:buNone/>
              <a:defRPr sz="4000" u="none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33BF96B1-9352-4A11-BA70-ADB24391EDA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07811" y="2104760"/>
            <a:ext cx="4453377" cy="1715985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396287922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8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3F49A2-019C-4E34-BBAF-A4D7A9086FB8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BD2C164-A549-4793-BAF4-64DB17D350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92629" y="1169729"/>
            <a:ext cx="4550292" cy="4550292"/>
          </a:xfrm>
          <a:custGeom>
            <a:avLst/>
            <a:gdLst>
              <a:gd name="connsiteX0" fmla="*/ 2274924 w 4550292"/>
              <a:gd name="connsiteY0" fmla="*/ 1025894 h 4550292"/>
              <a:gd name="connsiteX1" fmla="*/ 1041547 w 4550292"/>
              <a:gd name="connsiteY1" fmla="*/ 2259271 h 4550292"/>
              <a:gd name="connsiteX2" fmla="*/ 2274924 w 4550292"/>
              <a:gd name="connsiteY2" fmla="*/ 3492648 h 4550292"/>
              <a:gd name="connsiteX3" fmla="*/ 3508301 w 4550292"/>
              <a:gd name="connsiteY3" fmla="*/ 2259271 h 4550292"/>
              <a:gd name="connsiteX4" fmla="*/ 2274924 w 4550292"/>
              <a:gd name="connsiteY4" fmla="*/ 1025894 h 4550292"/>
              <a:gd name="connsiteX5" fmla="*/ 2275146 w 4550292"/>
              <a:gd name="connsiteY5" fmla="*/ 0 h 4550292"/>
              <a:gd name="connsiteX6" fmla="*/ 4550292 w 4550292"/>
              <a:gd name="connsiteY6" fmla="*/ 2275146 h 4550292"/>
              <a:gd name="connsiteX7" fmla="*/ 2275146 w 4550292"/>
              <a:gd name="connsiteY7" fmla="*/ 4550292 h 4550292"/>
              <a:gd name="connsiteX8" fmla="*/ 0 w 4550292"/>
              <a:gd name="connsiteY8" fmla="*/ 2275146 h 4550292"/>
              <a:gd name="connsiteX9" fmla="*/ 2275146 w 4550292"/>
              <a:gd name="connsiteY9" fmla="*/ 0 h 4550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50292" h="4550292">
                <a:moveTo>
                  <a:pt x="2274924" y="1025894"/>
                </a:moveTo>
                <a:cubicBezTo>
                  <a:pt x="1593749" y="1025894"/>
                  <a:pt x="1041547" y="1578096"/>
                  <a:pt x="1041547" y="2259271"/>
                </a:cubicBezTo>
                <a:cubicBezTo>
                  <a:pt x="1041547" y="2940446"/>
                  <a:pt x="1593749" y="3492648"/>
                  <a:pt x="2274924" y="3492648"/>
                </a:cubicBezTo>
                <a:cubicBezTo>
                  <a:pt x="2956099" y="3492648"/>
                  <a:pt x="3508301" y="2940446"/>
                  <a:pt x="3508301" y="2259271"/>
                </a:cubicBezTo>
                <a:cubicBezTo>
                  <a:pt x="3508301" y="1578096"/>
                  <a:pt x="2956099" y="1025894"/>
                  <a:pt x="2274924" y="1025894"/>
                </a:cubicBezTo>
                <a:close/>
                <a:moveTo>
                  <a:pt x="2275146" y="0"/>
                </a:moveTo>
                <a:cubicBezTo>
                  <a:pt x="3531674" y="0"/>
                  <a:pt x="4550292" y="1018618"/>
                  <a:pt x="4550292" y="2275146"/>
                </a:cubicBezTo>
                <a:cubicBezTo>
                  <a:pt x="4550292" y="3531674"/>
                  <a:pt x="3531674" y="4550292"/>
                  <a:pt x="2275146" y="4550292"/>
                </a:cubicBezTo>
                <a:cubicBezTo>
                  <a:pt x="1018618" y="4550292"/>
                  <a:pt x="0" y="3531674"/>
                  <a:pt x="0" y="2275146"/>
                </a:cubicBezTo>
                <a:cubicBezTo>
                  <a:pt x="0" y="1018618"/>
                  <a:pt x="1018618" y="0"/>
                  <a:pt x="2275146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4590769-676C-47F1-90A0-AF678FE80E71}"/>
              </a:ext>
            </a:extLst>
          </p:cNvPr>
          <p:cNvSpPr/>
          <p:nvPr userDrawn="1"/>
        </p:nvSpPr>
        <p:spPr>
          <a:xfrm>
            <a:off x="7634176" y="2195623"/>
            <a:ext cx="2466754" cy="246675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6E36D73-370F-4B74-821E-191DC4157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2741" y="958810"/>
            <a:ext cx="4167920" cy="1150782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A8FBA5DD-F7F3-44E3-81CC-0C05B2B053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3018" y="2490743"/>
            <a:ext cx="3436497" cy="317068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accent6">
                    <a:lumMod val="90000"/>
                    <a:lumOff val="1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6F7FBE63-45FB-47AE-9D21-8DC97ED059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3018" y="2689281"/>
            <a:ext cx="3436497" cy="419100"/>
          </a:xfrm>
        </p:spPr>
        <p:txBody>
          <a:bodyPr>
            <a:noAutofit/>
          </a:bodyPr>
          <a:lstStyle>
            <a:lvl1pPr marL="0" indent="0" algn="just">
              <a:lnSpc>
                <a:spcPct val="150000"/>
              </a:lnSpc>
              <a:buNone/>
              <a:defRPr sz="16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18314E4-DF89-4231-9DC7-026CBD13A8A8}"/>
              </a:ext>
            </a:extLst>
          </p:cNvPr>
          <p:cNvCxnSpPr>
            <a:cxnSpLocks/>
          </p:cNvCxnSpPr>
          <p:nvPr userDrawn="1"/>
        </p:nvCxnSpPr>
        <p:spPr>
          <a:xfrm>
            <a:off x="703018" y="3323183"/>
            <a:ext cx="3436497" cy="0"/>
          </a:xfrm>
          <a:prstGeom prst="line">
            <a:avLst/>
          </a:prstGeom>
          <a:ln w="12700">
            <a:solidFill>
              <a:schemeClr val="accent6">
                <a:lumMod val="90000"/>
                <a:lumOff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B590E5FE-C277-4895-8A58-8337A8F8AD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3018" y="3758784"/>
            <a:ext cx="3436497" cy="32074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accent6">
                    <a:lumMod val="90000"/>
                    <a:lumOff val="1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BEA57973-B2C0-4E26-90D7-A95174EB31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3018" y="3960996"/>
            <a:ext cx="3436497" cy="419100"/>
          </a:xfrm>
        </p:spPr>
        <p:txBody>
          <a:bodyPr>
            <a:noAutofit/>
          </a:bodyPr>
          <a:lstStyle>
            <a:lvl1pPr marL="0" indent="0" algn="just">
              <a:lnSpc>
                <a:spcPct val="150000"/>
              </a:lnSpc>
              <a:buNone/>
              <a:defRPr sz="16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06E27D7-5E0C-4086-948E-F9945EE45724}"/>
              </a:ext>
            </a:extLst>
          </p:cNvPr>
          <p:cNvCxnSpPr>
            <a:cxnSpLocks/>
          </p:cNvCxnSpPr>
          <p:nvPr userDrawn="1"/>
        </p:nvCxnSpPr>
        <p:spPr>
          <a:xfrm>
            <a:off x="703018" y="4594898"/>
            <a:ext cx="3436497" cy="0"/>
          </a:xfrm>
          <a:prstGeom prst="line">
            <a:avLst/>
          </a:prstGeom>
          <a:ln w="12700">
            <a:solidFill>
              <a:schemeClr val="accent6">
                <a:lumMod val="90000"/>
                <a:lumOff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830F64EE-788B-433D-A562-63D88FC694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3018" y="5139415"/>
            <a:ext cx="3436497" cy="28003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accent6">
                    <a:lumMod val="90000"/>
                    <a:lumOff val="1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310E38CA-1488-47A9-98C0-5D656D0A4FD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3018" y="5300921"/>
            <a:ext cx="3436497" cy="419100"/>
          </a:xfrm>
        </p:spPr>
        <p:txBody>
          <a:bodyPr>
            <a:noAutofit/>
          </a:bodyPr>
          <a:lstStyle>
            <a:lvl1pPr marL="0" indent="0" algn="just">
              <a:lnSpc>
                <a:spcPct val="150000"/>
              </a:lnSpc>
              <a:buNone/>
              <a:defRPr sz="16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316349690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95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F48358B4-59E1-47E5-BC55-97F8016E3B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1887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8" imgH="499" progId="TCLayout.ActiveDocument.1">
                  <p:embed/>
                </p:oleObj>
              </mc:Choice>
              <mc:Fallback>
                <p:oleObj name="Слайд think-cell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F604BA-1C00-7E46-AF3D-AA95551CD6AC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57364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D0E3460-B8DD-4DF6-A0DE-04E0415B949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0835" cy="3446586"/>
          </a:xfrm>
          <a:custGeom>
            <a:avLst/>
            <a:gdLst>
              <a:gd name="connsiteX0" fmla="*/ 0 w 6090835"/>
              <a:gd name="connsiteY0" fmla="*/ 0 h 3446586"/>
              <a:gd name="connsiteX1" fmla="*/ 6090835 w 6090835"/>
              <a:gd name="connsiteY1" fmla="*/ 0 h 3446586"/>
              <a:gd name="connsiteX2" fmla="*/ 6090835 w 6090835"/>
              <a:gd name="connsiteY2" fmla="*/ 1314711 h 3446586"/>
              <a:gd name="connsiteX3" fmla="*/ 5879800 w 6090835"/>
              <a:gd name="connsiteY3" fmla="*/ 1325367 h 3446586"/>
              <a:gd name="connsiteX4" fmla="*/ 3981450 w 6090835"/>
              <a:gd name="connsiteY4" fmla="*/ 3429000 h 3446586"/>
              <a:gd name="connsiteX5" fmla="*/ 3982338 w 6090835"/>
              <a:gd name="connsiteY5" fmla="*/ 3446586 h 3446586"/>
              <a:gd name="connsiteX6" fmla="*/ 0 w 6090835"/>
              <a:gd name="connsiteY6" fmla="*/ 3446586 h 3446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0835" h="3446586">
                <a:moveTo>
                  <a:pt x="0" y="0"/>
                </a:moveTo>
                <a:lnTo>
                  <a:pt x="6090835" y="0"/>
                </a:lnTo>
                <a:lnTo>
                  <a:pt x="6090835" y="1314711"/>
                </a:lnTo>
                <a:lnTo>
                  <a:pt x="5879800" y="1325367"/>
                </a:lnTo>
                <a:cubicBezTo>
                  <a:pt x="4813525" y="1433653"/>
                  <a:pt x="3981450" y="2334156"/>
                  <a:pt x="3981450" y="3429000"/>
                </a:cubicBezTo>
                <a:lnTo>
                  <a:pt x="3982338" y="3446586"/>
                </a:lnTo>
                <a:lnTo>
                  <a:pt x="0" y="3446586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2C7DEF2B-31B3-437B-AF82-DB38C7DD5C2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46586"/>
            <a:ext cx="6090835" cy="3411414"/>
          </a:xfrm>
          <a:custGeom>
            <a:avLst/>
            <a:gdLst>
              <a:gd name="connsiteX0" fmla="*/ 0 w 6090835"/>
              <a:gd name="connsiteY0" fmla="*/ 0 h 3411414"/>
              <a:gd name="connsiteX1" fmla="*/ 3982338 w 6090835"/>
              <a:gd name="connsiteY1" fmla="*/ 0 h 3411414"/>
              <a:gd name="connsiteX2" fmla="*/ 3992367 w 6090835"/>
              <a:gd name="connsiteY2" fmla="*/ 198615 h 3411414"/>
              <a:gd name="connsiteX3" fmla="*/ 5879800 w 6090835"/>
              <a:gd name="connsiteY3" fmla="*/ 2086047 h 3411414"/>
              <a:gd name="connsiteX4" fmla="*/ 6090835 w 6090835"/>
              <a:gd name="connsiteY4" fmla="*/ 2096703 h 3411414"/>
              <a:gd name="connsiteX5" fmla="*/ 6090835 w 6090835"/>
              <a:gd name="connsiteY5" fmla="*/ 3411414 h 3411414"/>
              <a:gd name="connsiteX6" fmla="*/ 0 w 6090835"/>
              <a:gd name="connsiteY6" fmla="*/ 3411414 h 3411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0835" h="3411414">
                <a:moveTo>
                  <a:pt x="0" y="0"/>
                </a:moveTo>
                <a:lnTo>
                  <a:pt x="3982338" y="0"/>
                </a:lnTo>
                <a:lnTo>
                  <a:pt x="3992367" y="198615"/>
                </a:lnTo>
                <a:cubicBezTo>
                  <a:pt x="4093434" y="1193805"/>
                  <a:pt x="4884610" y="1984980"/>
                  <a:pt x="5879800" y="2086047"/>
                </a:cubicBezTo>
                <a:lnTo>
                  <a:pt x="6090835" y="2096703"/>
                </a:lnTo>
                <a:lnTo>
                  <a:pt x="6090835" y="3411414"/>
                </a:lnTo>
                <a:lnTo>
                  <a:pt x="0" y="3411414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9A7CB6CE-8730-476E-A9ED-ECCEF52BA2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0835" y="0"/>
            <a:ext cx="6090835" cy="3446586"/>
          </a:xfrm>
          <a:custGeom>
            <a:avLst/>
            <a:gdLst>
              <a:gd name="connsiteX0" fmla="*/ 0 w 6090835"/>
              <a:gd name="connsiteY0" fmla="*/ 0 h 3446586"/>
              <a:gd name="connsiteX1" fmla="*/ 6090835 w 6090835"/>
              <a:gd name="connsiteY1" fmla="*/ 0 h 3446586"/>
              <a:gd name="connsiteX2" fmla="*/ 6090835 w 6090835"/>
              <a:gd name="connsiteY2" fmla="*/ 3446586 h 3446586"/>
              <a:gd name="connsiteX3" fmla="*/ 2118827 w 6090835"/>
              <a:gd name="connsiteY3" fmla="*/ 3446586 h 3446586"/>
              <a:gd name="connsiteX4" fmla="*/ 2119715 w 6090835"/>
              <a:gd name="connsiteY4" fmla="*/ 3429000 h 3446586"/>
              <a:gd name="connsiteX5" fmla="*/ 5165 w 6090835"/>
              <a:gd name="connsiteY5" fmla="*/ 1314450 h 3446586"/>
              <a:gd name="connsiteX6" fmla="*/ 0 w 6090835"/>
              <a:gd name="connsiteY6" fmla="*/ 1314711 h 3446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0835" h="3446586">
                <a:moveTo>
                  <a:pt x="0" y="0"/>
                </a:moveTo>
                <a:lnTo>
                  <a:pt x="6090835" y="0"/>
                </a:lnTo>
                <a:lnTo>
                  <a:pt x="6090835" y="3446586"/>
                </a:lnTo>
                <a:lnTo>
                  <a:pt x="2118827" y="3446586"/>
                </a:lnTo>
                <a:lnTo>
                  <a:pt x="2119715" y="3429000"/>
                </a:lnTo>
                <a:cubicBezTo>
                  <a:pt x="2119715" y="2261166"/>
                  <a:pt x="1172999" y="1314450"/>
                  <a:pt x="5165" y="1314450"/>
                </a:cubicBezTo>
                <a:lnTo>
                  <a:pt x="0" y="1314711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7F1134A8-EE35-4EE3-8D5A-95348DA021C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0835" y="3446586"/>
            <a:ext cx="6090835" cy="3411414"/>
          </a:xfrm>
          <a:custGeom>
            <a:avLst/>
            <a:gdLst>
              <a:gd name="connsiteX0" fmla="*/ 2118827 w 6090835"/>
              <a:gd name="connsiteY0" fmla="*/ 0 h 3411414"/>
              <a:gd name="connsiteX1" fmla="*/ 6090835 w 6090835"/>
              <a:gd name="connsiteY1" fmla="*/ 0 h 3411414"/>
              <a:gd name="connsiteX2" fmla="*/ 6090835 w 6090835"/>
              <a:gd name="connsiteY2" fmla="*/ 3411414 h 3411414"/>
              <a:gd name="connsiteX3" fmla="*/ 0 w 6090835"/>
              <a:gd name="connsiteY3" fmla="*/ 3411414 h 3411414"/>
              <a:gd name="connsiteX4" fmla="*/ 0 w 6090835"/>
              <a:gd name="connsiteY4" fmla="*/ 2096703 h 3411414"/>
              <a:gd name="connsiteX5" fmla="*/ 5165 w 6090835"/>
              <a:gd name="connsiteY5" fmla="*/ 2096964 h 3411414"/>
              <a:gd name="connsiteX6" fmla="*/ 2108798 w 6090835"/>
              <a:gd name="connsiteY6" fmla="*/ 198615 h 3411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0835" h="3411414">
                <a:moveTo>
                  <a:pt x="2118827" y="0"/>
                </a:moveTo>
                <a:lnTo>
                  <a:pt x="6090835" y="0"/>
                </a:lnTo>
                <a:lnTo>
                  <a:pt x="6090835" y="3411414"/>
                </a:lnTo>
                <a:lnTo>
                  <a:pt x="0" y="3411414"/>
                </a:lnTo>
                <a:lnTo>
                  <a:pt x="0" y="2096703"/>
                </a:lnTo>
                <a:lnTo>
                  <a:pt x="5165" y="2096964"/>
                </a:lnTo>
                <a:cubicBezTo>
                  <a:pt x="1100010" y="2096964"/>
                  <a:pt x="2000512" y="1264890"/>
                  <a:pt x="2108798" y="198615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5D0DB7A-E7C7-43CA-A14A-42B786EE7D92}"/>
              </a:ext>
            </a:extLst>
          </p:cNvPr>
          <p:cNvSpPr/>
          <p:nvPr userDrawn="1"/>
        </p:nvSpPr>
        <p:spPr>
          <a:xfrm>
            <a:off x="3981450" y="1314450"/>
            <a:ext cx="4229100" cy="42291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1974FC51-9E9D-4F8A-A880-040ECA00954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86288" y="2715356"/>
            <a:ext cx="2428912" cy="52342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28FC6CD8-52D6-424A-9C9D-E9D35C649AC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86288" y="3200543"/>
            <a:ext cx="2428912" cy="73236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accent6">
                    <a:lumMod val="90000"/>
                    <a:lumOff val="1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88F9DEDE-1012-4F2E-B3A3-11034135C8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47623" y="1353493"/>
            <a:ext cx="1758268" cy="346971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B0F0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5E692108-E7D3-4D91-A5B5-780CC3C1EED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47624" y="1575191"/>
            <a:ext cx="1758268" cy="32795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rgbClr val="00B0F0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869C1489-10DB-4AD8-8BA2-D998DA8A02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93151" y="1357208"/>
            <a:ext cx="1758268" cy="346971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B0F0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42C32CDB-A304-4EE8-BC1E-794B6E06C7A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93152" y="1578906"/>
            <a:ext cx="1758268" cy="32795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rgbClr val="00B0F0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379D48FC-B7C9-47E2-B16D-DA41CDB0F88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047623" y="5025354"/>
            <a:ext cx="1758268" cy="346971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B0F0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131145E6-5164-40A0-9604-ECB1132DA56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047624" y="5247052"/>
            <a:ext cx="1758268" cy="32795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rgbClr val="00B0F0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5A1C1637-13F3-409A-ACB1-E54A10BCA8F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93151" y="5029069"/>
            <a:ext cx="1758268" cy="346971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rgbClr val="00B0F0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CE290E2E-3FA0-44F6-B8E7-5E972FAD7D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93152" y="5250767"/>
            <a:ext cx="1758268" cy="32795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rgbClr val="00B0F0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3161420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9CECF1-79A6-4154-9871-6A017C0A71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909560" y="60053"/>
            <a:ext cx="4114800" cy="365125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89EB4F-8F9B-4311-8A13-A0CA90E08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81160" y="6356350"/>
            <a:ext cx="2743200" cy="365125"/>
          </a:xfrm>
        </p:spPr>
        <p:txBody>
          <a:bodyPr/>
          <a:lstStyle>
            <a:lvl1pPr>
              <a:defRPr sz="800" b="1"/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03B9064-4EE9-4CC5-96AD-F3F61CB2410D}"/>
              </a:ext>
            </a:extLst>
          </p:cNvPr>
          <p:cNvSpPr/>
          <p:nvPr userDrawn="1"/>
        </p:nvSpPr>
        <p:spPr>
          <a:xfrm>
            <a:off x="3952483" y="3187337"/>
            <a:ext cx="3135086" cy="313508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2E3C201-B968-478A-9D62-B4DD84CE7C1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5454" y="1123224"/>
            <a:ext cx="4387500" cy="4389302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0A85A72-04AA-4879-B002-6EA8BA50126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71554" y="4231460"/>
            <a:ext cx="1606921" cy="1281066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2952B67-4E76-44C8-91C0-7B638C5F1964}"/>
              </a:ext>
            </a:extLst>
          </p:cNvPr>
          <p:cNvGrpSpPr/>
          <p:nvPr userDrawn="1"/>
        </p:nvGrpSpPr>
        <p:grpSpPr>
          <a:xfrm rot="5400000">
            <a:off x="8321930" y="493892"/>
            <a:ext cx="338138" cy="1401763"/>
            <a:chOff x="7790118" y="7698260"/>
            <a:chExt cx="338138" cy="1401763"/>
          </a:xfrm>
          <a:solidFill>
            <a:schemeClr val="tx2">
              <a:lumMod val="75000"/>
            </a:schemeClr>
          </a:solidFill>
        </p:grpSpPr>
        <p:sp>
          <p:nvSpPr>
            <p:cNvPr id="13" name="Oval 159">
              <a:extLst>
                <a:ext uri="{FF2B5EF4-FFF2-40B4-BE49-F238E27FC236}">
                  <a16:creationId xmlns:a16="http://schemas.microsoft.com/office/drawing/2014/main" id="{FBE41E41-42F3-47B1-B5A7-41FA9C272A1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9746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Oval 160">
              <a:extLst>
                <a:ext uri="{FF2B5EF4-FFF2-40B4-BE49-F238E27FC236}">
                  <a16:creationId xmlns:a16="http://schemas.microsoft.com/office/drawing/2014/main" id="{0F862816-FDF9-4345-8AA1-748D76E019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9746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Oval 163">
              <a:extLst>
                <a:ext uri="{FF2B5EF4-FFF2-40B4-BE49-F238E27FC236}">
                  <a16:creationId xmlns:a16="http://schemas.microsoft.com/office/drawing/2014/main" id="{5D4CEE87-360C-4B95-88CC-7DEB2BFE06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7618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Oval 164">
              <a:extLst>
                <a:ext uri="{FF2B5EF4-FFF2-40B4-BE49-F238E27FC236}">
                  <a16:creationId xmlns:a16="http://schemas.microsoft.com/office/drawing/2014/main" id="{B53127D2-D653-4BD2-B918-2C243E5EC7E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7618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Oval 167">
              <a:extLst>
                <a:ext uri="{FF2B5EF4-FFF2-40B4-BE49-F238E27FC236}">
                  <a16:creationId xmlns:a16="http://schemas.microsoft.com/office/drawing/2014/main" id="{F4382D53-AE7D-47CB-AE22-3F0BAE7093D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5491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Oval 168">
              <a:extLst>
                <a:ext uri="{FF2B5EF4-FFF2-40B4-BE49-F238E27FC236}">
                  <a16:creationId xmlns:a16="http://schemas.microsoft.com/office/drawing/2014/main" id="{243EFADD-0551-4552-BF51-06CB1029D1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5491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169">
              <a:extLst>
                <a:ext uri="{FF2B5EF4-FFF2-40B4-BE49-F238E27FC236}">
                  <a16:creationId xmlns:a16="http://schemas.microsoft.com/office/drawing/2014/main" id="{484ECB9E-1323-432D-A991-8AFAD2CB76F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33643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Oval 170">
              <a:extLst>
                <a:ext uri="{FF2B5EF4-FFF2-40B4-BE49-F238E27FC236}">
                  <a16:creationId xmlns:a16="http://schemas.microsoft.com/office/drawing/2014/main" id="{4B5C1708-C3F5-4E23-803E-DFE8F7A588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33643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171">
              <a:extLst>
                <a:ext uri="{FF2B5EF4-FFF2-40B4-BE49-F238E27FC236}">
                  <a16:creationId xmlns:a16="http://schemas.microsoft.com/office/drawing/2014/main" id="{B36258A6-1958-4E96-A56D-C8AC1ED929D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1237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172">
              <a:extLst>
                <a:ext uri="{FF2B5EF4-FFF2-40B4-BE49-F238E27FC236}">
                  <a16:creationId xmlns:a16="http://schemas.microsoft.com/office/drawing/2014/main" id="{F7817F75-9A73-4AD6-9EB3-652A3506C31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1237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173">
              <a:extLst>
                <a:ext uri="{FF2B5EF4-FFF2-40B4-BE49-F238E27FC236}">
                  <a16:creationId xmlns:a16="http://schemas.microsoft.com/office/drawing/2014/main" id="{0935AEB1-1952-4D62-AAEE-D5E913F3FC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79109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174">
              <a:extLst>
                <a:ext uri="{FF2B5EF4-FFF2-40B4-BE49-F238E27FC236}">
                  <a16:creationId xmlns:a16="http://schemas.microsoft.com/office/drawing/2014/main" id="{1B49336C-F2C9-4C26-8671-C1D975CD59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79109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175">
              <a:extLst>
                <a:ext uri="{FF2B5EF4-FFF2-40B4-BE49-F238E27FC236}">
                  <a16:creationId xmlns:a16="http://schemas.microsoft.com/office/drawing/2014/main" id="{FF383D53-4D98-49A2-976F-78B392EC8C0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76982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Oval 176">
              <a:extLst>
                <a:ext uri="{FF2B5EF4-FFF2-40B4-BE49-F238E27FC236}">
                  <a16:creationId xmlns:a16="http://schemas.microsoft.com/office/drawing/2014/main" id="{D9962BAD-6766-4AB3-9A7B-70B32BE260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76982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6579367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2C8C71D-A4DE-4D6E-A4D6-B82C995418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F59828-1F7B-4BE6-88ED-919D214CC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801708" y="166565"/>
            <a:ext cx="4114800" cy="365125"/>
          </a:xfrm>
        </p:spPr>
        <p:txBody>
          <a:bodyPr/>
          <a:lstStyle>
            <a:lvl1pPr algn="r">
              <a:defRPr spc="3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694BD7-8650-43C9-8AF7-2EC78F363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73308" y="6356350"/>
            <a:ext cx="2743200" cy="365125"/>
          </a:xfrm>
        </p:spPr>
        <p:txBody>
          <a:bodyPr/>
          <a:lstStyle>
            <a:lvl1pPr>
              <a:defRPr sz="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BAD87FD-029C-4516-B722-30A66CF736E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19446" cy="6858000"/>
          </a:xfr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F50BE7A8-0E68-4EE4-98E5-9F6A71DA20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733693" y="2456564"/>
            <a:ext cx="3182815" cy="1238281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1CB00E6-8DBD-48D4-A3B1-84A1AE12C7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33693" y="3718292"/>
            <a:ext cx="3182815" cy="57235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400">
                <a:solidFill>
                  <a:schemeClr val="accent6">
                    <a:lumMod val="90000"/>
                    <a:lumOff val="1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01122E3-5B2F-4AD5-B6AB-36CF0F686A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65280" y="2456564"/>
            <a:ext cx="1336428" cy="1834083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400" i="1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8214385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icture Placeholder 10">
            <a:extLst>
              <a:ext uri="{FF2B5EF4-FFF2-40B4-BE49-F238E27FC236}">
                <a16:creationId xmlns:a16="http://schemas.microsoft.com/office/drawing/2014/main" id="{BD8CA1F1-E38C-46A1-A5D0-F7463F65E05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542426" y="1688895"/>
            <a:ext cx="2763030" cy="2763030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  <a:ln w="19050">
            <a:solidFill>
              <a:srgbClr val="00B0F0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F56474-B7C6-488E-89AD-2241EFBEC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9221" y="6356350"/>
            <a:ext cx="4114800" cy="365125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86D77-8B18-4961-BB9B-56C3841F18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9578" y="6356350"/>
            <a:ext cx="2743200" cy="365125"/>
          </a:xfrm>
        </p:spPr>
        <p:txBody>
          <a:bodyPr/>
          <a:lstStyle>
            <a:lvl1pPr algn="r">
              <a:defRPr sz="800" b="1"/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647EEFB-47E2-488C-8432-D1A2235C44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1724" y="1688895"/>
            <a:ext cx="2763030" cy="2763030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  <a:ln w="19050">
            <a:solidFill>
              <a:srgbClr val="00B0F0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C997922-FA28-409C-943E-964CE9ABCA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3049" y="4603119"/>
            <a:ext cx="2249476" cy="20132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7689F1E-1AE0-4A31-840E-549CD7B0586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3050" y="4874359"/>
            <a:ext cx="2249476" cy="22070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rgbClr val="00B0F0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CCE346EE-6AF5-4510-BE36-F107214F04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3050" y="5196849"/>
            <a:ext cx="2249476" cy="516361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 err="1"/>
              <a:t>Bodycopy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A33DDF97-2562-43AD-B134-73BE50F7E1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56074" y="461203"/>
            <a:ext cx="4572000" cy="375611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3B4F02E-6F8C-4A93-AF80-6498AB88C5D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19976" y="846508"/>
            <a:ext cx="5444196" cy="62953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8" name="Shape 3906">
            <a:extLst>
              <a:ext uri="{FF2B5EF4-FFF2-40B4-BE49-F238E27FC236}">
                <a16:creationId xmlns:a16="http://schemas.microsoft.com/office/drawing/2014/main" id="{66058AAD-3B0B-4865-A19A-D162496D47AB}"/>
              </a:ext>
            </a:extLst>
          </p:cNvPr>
          <p:cNvSpPr/>
          <p:nvPr userDrawn="1"/>
        </p:nvSpPr>
        <p:spPr>
          <a:xfrm>
            <a:off x="1432851" y="5826523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2"/>
                  <a:pt x="11183" y="9162"/>
                  <a:pt x="11217" y="9308"/>
                </a:cubicBezTo>
                <a:cubicBezTo>
                  <a:pt x="9543" y="9226"/>
                  <a:pt x="8059" y="8436"/>
                  <a:pt x="7065" y="7236"/>
                </a:cubicBezTo>
                <a:cubicBezTo>
                  <a:pt x="6892" y="7530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2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4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9" name="Shape 3907">
            <a:extLst>
              <a:ext uri="{FF2B5EF4-FFF2-40B4-BE49-F238E27FC236}">
                <a16:creationId xmlns:a16="http://schemas.microsoft.com/office/drawing/2014/main" id="{EDC3213A-92FE-499F-BA0E-4F9F50B3FBC9}"/>
              </a:ext>
            </a:extLst>
          </p:cNvPr>
          <p:cNvSpPr/>
          <p:nvPr userDrawn="1"/>
        </p:nvSpPr>
        <p:spPr>
          <a:xfrm>
            <a:off x="1895792" y="5826523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9" y="6381"/>
                  <a:pt x="9815" y="7120"/>
                  <a:pt x="9815" y="8363"/>
                </a:cubicBezTo>
                <a:lnTo>
                  <a:pt x="9815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5" y="10800"/>
                </a:lnTo>
                <a:lnTo>
                  <a:pt x="9815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Shape 3916">
            <a:extLst>
              <a:ext uri="{FF2B5EF4-FFF2-40B4-BE49-F238E27FC236}">
                <a16:creationId xmlns:a16="http://schemas.microsoft.com/office/drawing/2014/main" id="{B8281A04-D1F1-44BB-81C5-CFE8A99BFE3A}"/>
              </a:ext>
            </a:extLst>
          </p:cNvPr>
          <p:cNvSpPr/>
          <p:nvPr userDrawn="1"/>
        </p:nvSpPr>
        <p:spPr>
          <a:xfrm>
            <a:off x="2358734" y="5826523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1" name="Picture Placeholder 10">
            <a:extLst>
              <a:ext uri="{FF2B5EF4-FFF2-40B4-BE49-F238E27FC236}">
                <a16:creationId xmlns:a16="http://schemas.microsoft.com/office/drawing/2014/main" id="{A596DAE3-AD60-4EF9-BB4A-0EF5498C015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406433" y="1688895"/>
            <a:ext cx="2763030" cy="2763030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  <a:ln w="19050">
            <a:solidFill>
              <a:srgbClr val="00B0F0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45E7F07B-7168-4D39-9B0E-D3ADFEC2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67758" y="4603119"/>
            <a:ext cx="2249476" cy="20132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B1C04AEB-CE6D-4DDD-BBA8-C58319923E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67759" y="4874359"/>
            <a:ext cx="2249476" cy="22070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rgbClr val="00B0F0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D34736FA-9F25-48F8-9F4E-8697324EA5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67759" y="5196849"/>
            <a:ext cx="2249476" cy="516361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 err="1"/>
              <a:t>Bodycopy</a:t>
            </a:r>
            <a:endParaRPr lang="en-US" dirty="0"/>
          </a:p>
        </p:txBody>
      </p:sp>
      <p:sp>
        <p:nvSpPr>
          <p:cNvPr id="25" name="Shape 3906">
            <a:extLst>
              <a:ext uri="{FF2B5EF4-FFF2-40B4-BE49-F238E27FC236}">
                <a16:creationId xmlns:a16="http://schemas.microsoft.com/office/drawing/2014/main" id="{3C938EAF-900B-452C-AE68-BAF3F5C9E198}"/>
              </a:ext>
            </a:extLst>
          </p:cNvPr>
          <p:cNvSpPr/>
          <p:nvPr userDrawn="1"/>
        </p:nvSpPr>
        <p:spPr>
          <a:xfrm>
            <a:off x="4027560" y="5826523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2"/>
                  <a:pt x="11183" y="9162"/>
                  <a:pt x="11217" y="9308"/>
                </a:cubicBezTo>
                <a:cubicBezTo>
                  <a:pt x="9543" y="9226"/>
                  <a:pt x="8059" y="8436"/>
                  <a:pt x="7065" y="7236"/>
                </a:cubicBezTo>
                <a:cubicBezTo>
                  <a:pt x="6892" y="7530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2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4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6" name="Shape 3907">
            <a:extLst>
              <a:ext uri="{FF2B5EF4-FFF2-40B4-BE49-F238E27FC236}">
                <a16:creationId xmlns:a16="http://schemas.microsoft.com/office/drawing/2014/main" id="{A29232BC-103F-4FFE-857A-A95A3BD7BFDC}"/>
              </a:ext>
            </a:extLst>
          </p:cNvPr>
          <p:cNvSpPr/>
          <p:nvPr userDrawn="1"/>
        </p:nvSpPr>
        <p:spPr>
          <a:xfrm>
            <a:off x="4490501" y="5826523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9" y="6381"/>
                  <a:pt x="9815" y="7120"/>
                  <a:pt x="9815" y="8363"/>
                </a:cubicBezTo>
                <a:lnTo>
                  <a:pt x="9815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5" y="10800"/>
                </a:lnTo>
                <a:lnTo>
                  <a:pt x="9815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7" name="Shape 3916">
            <a:extLst>
              <a:ext uri="{FF2B5EF4-FFF2-40B4-BE49-F238E27FC236}">
                <a16:creationId xmlns:a16="http://schemas.microsoft.com/office/drawing/2014/main" id="{8341BF8C-D988-48FE-A13A-A8BBF8979BC3}"/>
              </a:ext>
            </a:extLst>
          </p:cNvPr>
          <p:cNvSpPr/>
          <p:nvPr userDrawn="1"/>
        </p:nvSpPr>
        <p:spPr>
          <a:xfrm>
            <a:off x="4953443" y="5826523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8" name="Picture Placeholder 10">
            <a:extLst>
              <a:ext uri="{FF2B5EF4-FFF2-40B4-BE49-F238E27FC236}">
                <a16:creationId xmlns:a16="http://schemas.microsoft.com/office/drawing/2014/main" id="{C5E83D6F-61D4-4B4C-923B-4792612884E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001142" y="1688895"/>
            <a:ext cx="2763030" cy="2763030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  <a:ln w="19050">
            <a:solidFill>
              <a:srgbClr val="00B0F0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1ADFC51F-6CE7-403E-8F32-FE911FFECD1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62467" y="4603119"/>
            <a:ext cx="2249476" cy="20132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F7B9827E-400A-496B-BA91-A41ADF1AEA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62468" y="4874359"/>
            <a:ext cx="2249476" cy="22070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rgbClr val="00B0F0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03C9E58C-CAAF-4040-BE3B-DAA58513952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62468" y="5196849"/>
            <a:ext cx="2249476" cy="516361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 err="1"/>
              <a:t>Bodycopy</a:t>
            </a:r>
            <a:endParaRPr lang="en-US" dirty="0"/>
          </a:p>
        </p:txBody>
      </p:sp>
      <p:sp>
        <p:nvSpPr>
          <p:cNvPr id="32" name="Shape 3906">
            <a:extLst>
              <a:ext uri="{FF2B5EF4-FFF2-40B4-BE49-F238E27FC236}">
                <a16:creationId xmlns:a16="http://schemas.microsoft.com/office/drawing/2014/main" id="{818BD0D0-CD26-4FFE-9557-B10330E92F6E}"/>
              </a:ext>
            </a:extLst>
          </p:cNvPr>
          <p:cNvSpPr/>
          <p:nvPr userDrawn="1"/>
        </p:nvSpPr>
        <p:spPr>
          <a:xfrm>
            <a:off x="6622269" y="5826523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2"/>
                  <a:pt x="11183" y="9162"/>
                  <a:pt x="11217" y="9308"/>
                </a:cubicBezTo>
                <a:cubicBezTo>
                  <a:pt x="9543" y="9226"/>
                  <a:pt x="8059" y="8436"/>
                  <a:pt x="7065" y="7236"/>
                </a:cubicBezTo>
                <a:cubicBezTo>
                  <a:pt x="6892" y="7530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2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4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33" name="Shape 3907">
            <a:extLst>
              <a:ext uri="{FF2B5EF4-FFF2-40B4-BE49-F238E27FC236}">
                <a16:creationId xmlns:a16="http://schemas.microsoft.com/office/drawing/2014/main" id="{B78E6F7B-3FD8-4217-B3A1-53617C354E6A}"/>
              </a:ext>
            </a:extLst>
          </p:cNvPr>
          <p:cNvSpPr/>
          <p:nvPr userDrawn="1"/>
        </p:nvSpPr>
        <p:spPr>
          <a:xfrm>
            <a:off x="7085210" y="5826523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9" y="6381"/>
                  <a:pt x="9815" y="7120"/>
                  <a:pt x="9815" y="8363"/>
                </a:cubicBezTo>
                <a:lnTo>
                  <a:pt x="9815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5" y="10800"/>
                </a:lnTo>
                <a:lnTo>
                  <a:pt x="9815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34" name="Shape 3916">
            <a:extLst>
              <a:ext uri="{FF2B5EF4-FFF2-40B4-BE49-F238E27FC236}">
                <a16:creationId xmlns:a16="http://schemas.microsoft.com/office/drawing/2014/main" id="{4CF88EB8-5235-4B03-8184-546D5F5F1A3C}"/>
              </a:ext>
            </a:extLst>
          </p:cNvPr>
          <p:cNvSpPr/>
          <p:nvPr userDrawn="1"/>
        </p:nvSpPr>
        <p:spPr>
          <a:xfrm>
            <a:off x="7548152" y="5826523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0017EBEA-D658-4035-8EDD-6C889364360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03751" y="4603119"/>
            <a:ext cx="2249476" cy="20132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5958D6DB-861F-41FF-BEC7-008B2000FBF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03752" y="4874359"/>
            <a:ext cx="2249476" cy="22070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rgbClr val="00B0F0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67A3B079-FC77-42AF-AB07-D9F2E01407D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03752" y="5196849"/>
            <a:ext cx="2249476" cy="516361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 err="1"/>
              <a:t>Bodycopy</a:t>
            </a:r>
            <a:endParaRPr lang="en-US" dirty="0"/>
          </a:p>
        </p:txBody>
      </p:sp>
      <p:sp>
        <p:nvSpPr>
          <p:cNvPr id="39" name="Shape 3906">
            <a:extLst>
              <a:ext uri="{FF2B5EF4-FFF2-40B4-BE49-F238E27FC236}">
                <a16:creationId xmlns:a16="http://schemas.microsoft.com/office/drawing/2014/main" id="{C088DBBD-A5DA-4DD9-8F48-3935166DBB9B}"/>
              </a:ext>
            </a:extLst>
          </p:cNvPr>
          <p:cNvSpPr/>
          <p:nvPr userDrawn="1"/>
        </p:nvSpPr>
        <p:spPr>
          <a:xfrm>
            <a:off x="9163553" y="5826523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2"/>
                  <a:pt x="11183" y="9162"/>
                  <a:pt x="11217" y="9308"/>
                </a:cubicBezTo>
                <a:cubicBezTo>
                  <a:pt x="9543" y="9226"/>
                  <a:pt x="8059" y="8436"/>
                  <a:pt x="7065" y="7236"/>
                </a:cubicBezTo>
                <a:cubicBezTo>
                  <a:pt x="6892" y="7530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2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4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0" name="Shape 3907">
            <a:extLst>
              <a:ext uri="{FF2B5EF4-FFF2-40B4-BE49-F238E27FC236}">
                <a16:creationId xmlns:a16="http://schemas.microsoft.com/office/drawing/2014/main" id="{ACF78144-E6A1-42C1-8E95-2AE54DFE6A0F}"/>
              </a:ext>
            </a:extLst>
          </p:cNvPr>
          <p:cNvSpPr/>
          <p:nvPr userDrawn="1"/>
        </p:nvSpPr>
        <p:spPr>
          <a:xfrm>
            <a:off x="9626494" y="5826523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9" y="6381"/>
                  <a:pt x="9815" y="7120"/>
                  <a:pt x="9815" y="8363"/>
                </a:cubicBezTo>
                <a:lnTo>
                  <a:pt x="9815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5" y="10800"/>
                </a:lnTo>
                <a:lnTo>
                  <a:pt x="9815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1" name="Shape 3916">
            <a:extLst>
              <a:ext uri="{FF2B5EF4-FFF2-40B4-BE49-F238E27FC236}">
                <a16:creationId xmlns:a16="http://schemas.microsoft.com/office/drawing/2014/main" id="{40A43D03-DDFF-4F9A-BA69-E41A0D27CE53}"/>
              </a:ext>
            </a:extLst>
          </p:cNvPr>
          <p:cNvSpPr/>
          <p:nvPr userDrawn="1"/>
        </p:nvSpPr>
        <p:spPr>
          <a:xfrm>
            <a:off x="10089436" y="5826523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6182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449B085-9C36-4C80-BEC4-0E374451C1AD}"/>
              </a:ext>
            </a:extLst>
          </p:cNvPr>
          <p:cNvSpPr/>
          <p:nvPr userDrawn="1"/>
        </p:nvSpPr>
        <p:spPr>
          <a:xfrm>
            <a:off x="0" y="0"/>
            <a:ext cx="4294414" cy="6858000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8688D7B6-3B2B-4650-95A8-91379B072A3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977986" y="3026972"/>
            <a:ext cx="2632856" cy="2632856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  <a:ln w="19050">
            <a:solidFill>
              <a:srgbClr val="00B0F0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674481E1-3896-4CCB-8FA1-22EA31FE97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55972" y="3026972"/>
            <a:ext cx="2632856" cy="2632856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  <a:ln w="19050">
            <a:solidFill>
              <a:srgbClr val="00B0F0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A0296B6-1B3F-45FD-9AB5-13045DDD74D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26378" y="3026972"/>
            <a:ext cx="2632856" cy="2632856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  <a:ln w="19050">
            <a:solidFill>
              <a:srgbClr val="00B0F0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3FFD5E5-BC1A-4F3A-B6F5-112BFB2122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30418" y="1172577"/>
            <a:ext cx="5444196" cy="636364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8870FFD-159E-45F9-A5BD-0C3894FB0A5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30418" y="1881289"/>
            <a:ext cx="5444196" cy="783771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8E46D87-ECE4-4739-BACB-763ABF991123}"/>
              </a:ext>
            </a:extLst>
          </p:cNvPr>
          <p:cNvGrpSpPr/>
          <p:nvPr userDrawn="1"/>
        </p:nvGrpSpPr>
        <p:grpSpPr>
          <a:xfrm>
            <a:off x="5230418" y="-3408169"/>
            <a:ext cx="942109" cy="4219541"/>
            <a:chOff x="6471577" y="-492936"/>
            <a:chExt cx="862012" cy="3860801"/>
          </a:xfrm>
        </p:grpSpPr>
        <p:sp>
          <p:nvSpPr>
            <p:cNvPr id="15" name="Oval 98">
              <a:extLst>
                <a:ext uri="{FF2B5EF4-FFF2-40B4-BE49-F238E27FC236}">
                  <a16:creationId xmlns:a16="http://schemas.microsoft.com/office/drawing/2014/main" id="{6B8B47CF-FAF0-4234-B047-1C5CE8C73A2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317101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Oval 99">
              <a:extLst>
                <a:ext uri="{FF2B5EF4-FFF2-40B4-BE49-F238E27FC236}">
                  <a16:creationId xmlns:a16="http://schemas.microsoft.com/office/drawing/2014/main" id="{DAF620D4-15FE-4E86-BAF8-80ECF8E91E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2837640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Oval 100">
              <a:extLst>
                <a:ext uri="{FF2B5EF4-FFF2-40B4-BE49-F238E27FC236}">
                  <a16:creationId xmlns:a16="http://schemas.microsoft.com/office/drawing/2014/main" id="{D248E349-8298-4FEC-BF90-DCA90D513BA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250426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Oval 101">
              <a:extLst>
                <a:ext uri="{FF2B5EF4-FFF2-40B4-BE49-F238E27FC236}">
                  <a16:creationId xmlns:a16="http://schemas.microsoft.com/office/drawing/2014/main" id="{FE194D00-55D8-4FA0-A412-D6629263CBB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217247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102">
              <a:extLst>
                <a:ext uri="{FF2B5EF4-FFF2-40B4-BE49-F238E27FC236}">
                  <a16:creationId xmlns:a16="http://schemas.microsoft.com/office/drawing/2014/main" id="{2B77CA03-71AC-48F7-ACF8-784A9134E4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839102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Oval 103">
              <a:extLst>
                <a:ext uri="{FF2B5EF4-FFF2-40B4-BE49-F238E27FC236}">
                  <a16:creationId xmlns:a16="http://schemas.microsoft.com/office/drawing/2014/main" id="{0692A741-C22D-43E9-B6A1-5F5D58AF4BF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50572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104">
              <a:extLst>
                <a:ext uri="{FF2B5EF4-FFF2-40B4-BE49-F238E27FC236}">
                  <a16:creationId xmlns:a16="http://schemas.microsoft.com/office/drawing/2014/main" id="{7946D6A7-7FE2-4651-92DC-0E9CE54B81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17235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105">
              <a:extLst>
                <a:ext uri="{FF2B5EF4-FFF2-40B4-BE49-F238E27FC236}">
                  <a16:creationId xmlns:a16="http://schemas.microsoft.com/office/drawing/2014/main" id="{D292E3AB-8EAD-41EA-96A4-1F0D736941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838977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106">
              <a:extLst>
                <a:ext uri="{FF2B5EF4-FFF2-40B4-BE49-F238E27FC236}">
                  <a16:creationId xmlns:a16="http://schemas.microsoft.com/office/drawing/2014/main" id="{154A0473-0947-417B-99AA-1C21435B3E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50560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107">
              <a:extLst>
                <a:ext uri="{FF2B5EF4-FFF2-40B4-BE49-F238E27FC236}">
                  <a16:creationId xmlns:a16="http://schemas.microsoft.com/office/drawing/2014/main" id="{65890AC7-A197-4C38-8BA8-E33F57D68C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73815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108">
              <a:extLst>
                <a:ext uri="{FF2B5EF4-FFF2-40B4-BE49-F238E27FC236}">
                  <a16:creationId xmlns:a16="http://schemas.microsoft.com/office/drawing/2014/main" id="{7DAC0445-138B-4EC7-92A9-5D50B57C48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-159560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Oval 109">
              <a:extLst>
                <a:ext uri="{FF2B5EF4-FFF2-40B4-BE49-F238E27FC236}">
                  <a16:creationId xmlns:a16="http://schemas.microsoft.com/office/drawing/2014/main" id="{70B74594-68F1-442B-8C71-D739AFAED9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-492936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119">
              <a:extLst>
                <a:ext uri="{FF2B5EF4-FFF2-40B4-BE49-F238E27FC236}">
                  <a16:creationId xmlns:a16="http://schemas.microsoft.com/office/drawing/2014/main" id="{D864628F-1D5A-47D3-BAEB-CF341D3BC4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3171015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120">
              <a:extLst>
                <a:ext uri="{FF2B5EF4-FFF2-40B4-BE49-F238E27FC236}">
                  <a16:creationId xmlns:a16="http://schemas.microsoft.com/office/drawing/2014/main" id="{3A4E987A-7D80-4F3F-B004-065F8B677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2837640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121">
              <a:extLst>
                <a:ext uri="{FF2B5EF4-FFF2-40B4-BE49-F238E27FC236}">
                  <a16:creationId xmlns:a16="http://schemas.microsoft.com/office/drawing/2014/main" id="{94A304D3-F81C-4F65-ADC6-6AA2D56AF5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2504265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122">
              <a:extLst>
                <a:ext uri="{FF2B5EF4-FFF2-40B4-BE49-F238E27FC236}">
                  <a16:creationId xmlns:a16="http://schemas.microsoft.com/office/drawing/2014/main" id="{0E21DCE4-586B-4032-885F-FA849CA550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2172477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123">
              <a:extLst>
                <a:ext uri="{FF2B5EF4-FFF2-40B4-BE49-F238E27FC236}">
                  <a16:creationId xmlns:a16="http://schemas.microsoft.com/office/drawing/2014/main" id="{F441F13B-695B-440F-B143-86B3E85495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839102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124">
              <a:extLst>
                <a:ext uri="{FF2B5EF4-FFF2-40B4-BE49-F238E27FC236}">
                  <a16:creationId xmlns:a16="http://schemas.microsoft.com/office/drawing/2014/main" id="{9357681B-13B9-4B09-B038-36C66A676F2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505727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125">
              <a:extLst>
                <a:ext uri="{FF2B5EF4-FFF2-40B4-BE49-F238E27FC236}">
                  <a16:creationId xmlns:a16="http://schemas.microsoft.com/office/drawing/2014/main" id="{DE4A08EE-1344-4C78-86F3-A97BC8C8035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172352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126">
              <a:extLst>
                <a:ext uri="{FF2B5EF4-FFF2-40B4-BE49-F238E27FC236}">
                  <a16:creationId xmlns:a16="http://schemas.microsoft.com/office/drawing/2014/main" id="{5B39A005-0033-4972-BBAE-6C665A79D93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838977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127">
              <a:extLst>
                <a:ext uri="{FF2B5EF4-FFF2-40B4-BE49-F238E27FC236}">
                  <a16:creationId xmlns:a16="http://schemas.microsoft.com/office/drawing/2014/main" id="{487E3CE2-5C87-4E10-8B66-9075FC49A7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505602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128">
              <a:extLst>
                <a:ext uri="{FF2B5EF4-FFF2-40B4-BE49-F238E27FC236}">
                  <a16:creationId xmlns:a16="http://schemas.microsoft.com/office/drawing/2014/main" id="{B5B1CD04-E67B-408C-8E4E-F23FA72ECBA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73815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129">
              <a:extLst>
                <a:ext uri="{FF2B5EF4-FFF2-40B4-BE49-F238E27FC236}">
                  <a16:creationId xmlns:a16="http://schemas.microsoft.com/office/drawing/2014/main" id="{753627C9-84D1-42F3-85A6-CA18FAECE6E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-159560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130">
              <a:extLst>
                <a:ext uri="{FF2B5EF4-FFF2-40B4-BE49-F238E27FC236}">
                  <a16:creationId xmlns:a16="http://schemas.microsoft.com/office/drawing/2014/main" id="{EBCCF232-64B8-4420-911D-512D39E96D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-492936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140">
              <a:extLst>
                <a:ext uri="{FF2B5EF4-FFF2-40B4-BE49-F238E27FC236}">
                  <a16:creationId xmlns:a16="http://schemas.microsoft.com/office/drawing/2014/main" id="{DAD5387F-4FBA-49F9-B98D-46504B0E91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317101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141">
              <a:extLst>
                <a:ext uri="{FF2B5EF4-FFF2-40B4-BE49-F238E27FC236}">
                  <a16:creationId xmlns:a16="http://schemas.microsoft.com/office/drawing/2014/main" id="{482E9190-BFF2-404D-A265-F2F8433DA2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2837640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142">
              <a:extLst>
                <a:ext uri="{FF2B5EF4-FFF2-40B4-BE49-F238E27FC236}">
                  <a16:creationId xmlns:a16="http://schemas.microsoft.com/office/drawing/2014/main" id="{39AB7ECD-7F9C-4C4C-A60C-909F1FB31A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250426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143">
              <a:extLst>
                <a:ext uri="{FF2B5EF4-FFF2-40B4-BE49-F238E27FC236}">
                  <a16:creationId xmlns:a16="http://schemas.microsoft.com/office/drawing/2014/main" id="{7AE152F0-50A7-49C5-BDE7-7F6BAC5CB3A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217247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Oval 144">
              <a:extLst>
                <a:ext uri="{FF2B5EF4-FFF2-40B4-BE49-F238E27FC236}">
                  <a16:creationId xmlns:a16="http://schemas.microsoft.com/office/drawing/2014/main" id="{90606856-C417-451D-9F25-C6EF2D879F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839102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Oval 145">
              <a:extLst>
                <a:ext uri="{FF2B5EF4-FFF2-40B4-BE49-F238E27FC236}">
                  <a16:creationId xmlns:a16="http://schemas.microsoft.com/office/drawing/2014/main" id="{A4BA25DF-21F0-4243-A799-9F88908999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50572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Oval 146">
              <a:extLst>
                <a:ext uri="{FF2B5EF4-FFF2-40B4-BE49-F238E27FC236}">
                  <a16:creationId xmlns:a16="http://schemas.microsoft.com/office/drawing/2014/main" id="{321DDD2C-9693-4C55-B2AA-4325C3E8F1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17235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Oval 147">
              <a:extLst>
                <a:ext uri="{FF2B5EF4-FFF2-40B4-BE49-F238E27FC236}">
                  <a16:creationId xmlns:a16="http://schemas.microsoft.com/office/drawing/2014/main" id="{80B0F696-C0B5-4ED9-AA9B-38F42505161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838977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Oval 148">
              <a:extLst>
                <a:ext uri="{FF2B5EF4-FFF2-40B4-BE49-F238E27FC236}">
                  <a16:creationId xmlns:a16="http://schemas.microsoft.com/office/drawing/2014/main" id="{7C6452F0-A1C9-4A5A-99EB-BAE3B8BB7CF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50560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Oval 149">
              <a:extLst>
                <a:ext uri="{FF2B5EF4-FFF2-40B4-BE49-F238E27FC236}">
                  <a16:creationId xmlns:a16="http://schemas.microsoft.com/office/drawing/2014/main" id="{6A888806-A5E2-44D7-B50D-64F61BA5CE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73815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Oval 150">
              <a:extLst>
                <a:ext uri="{FF2B5EF4-FFF2-40B4-BE49-F238E27FC236}">
                  <a16:creationId xmlns:a16="http://schemas.microsoft.com/office/drawing/2014/main" id="{D120839B-C656-46A5-A6E3-E150BC26A37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-159560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Oval 151">
              <a:extLst>
                <a:ext uri="{FF2B5EF4-FFF2-40B4-BE49-F238E27FC236}">
                  <a16:creationId xmlns:a16="http://schemas.microsoft.com/office/drawing/2014/main" id="{294795FF-AF6F-4751-B8D3-74DF4FD433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-492936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0926110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F56474-B7C6-488E-89AD-2241EFBEC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9221" y="6356350"/>
            <a:ext cx="4114800" cy="365125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86D77-8B18-4961-BB9B-56C3841F18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29578" y="6356350"/>
            <a:ext cx="2743200" cy="365125"/>
          </a:xfrm>
        </p:spPr>
        <p:txBody>
          <a:bodyPr/>
          <a:lstStyle>
            <a:lvl1pPr algn="r">
              <a:defRPr sz="800" b="1"/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C997922-FA28-409C-943E-964CE9ABCA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10804" y="4986577"/>
            <a:ext cx="2249476" cy="20132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7689F1E-1AE0-4A31-840E-549CD7B0586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10805" y="5257817"/>
            <a:ext cx="2249476" cy="22070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rgbClr val="00B0F0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CCE346EE-6AF5-4510-BE36-F107214F04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10805" y="5580307"/>
            <a:ext cx="2249476" cy="516361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 err="1"/>
              <a:t>Bodycopy</a:t>
            </a:r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A33DDF97-2562-43AD-B134-73BE50F7E1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56074" y="461203"/>
            <a:ext cx="4572000" cy="375611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3B4F02E-6F8C-4A93-AF80-6498AB88C5D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19976" y="846508"/>
            <a:ext cx="5444196" cy="62953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B4D222E0-6A8B-4292-AE18-C903D796283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010804" y="1758329"/>
            <a:ext cx="2249476" cy="2968566"/>
          </a:xfrm>
          <a:custGeom>
            <a:avLst/>
            <a:gdLst>
              <a:gd name="connsiteX0" fmla="*/ 1124738 w 2249476"/>
              <a:gd name="connsiteY0" fmla="*/ 0 h 2968566"/>
              <a:gd name="connsiteX1" fmla="*/ 2243669 w 2249476"/>
              <a:gd name="connsiteY1" fmla="*/ 1009717 h 2968566"/>
              <a:gd name="connsiteX2" fmla="*/ 2249346 w 2249476"/>
              <a:gd name="connsiteY2" fmla="*/ 1122144 h 2968566"/>
              <a:gd name="connsiteX3" fmla="*/ 2249476 w 2249476"/>
              <a:gd name="connsiteY3" fmla="*/ 1122144 h 2968566"/>
              <a:gd name="connsiteX4" fmla="*/ 2249476 w 2249476"/>
              <a:gd name="connsiteY4" fmla="*/ 1124712 h 2968566"/>
              <a:gd name="connsiteX5" fmla="*/ 2249476 w 2249476"/>
              <a:gd name="connsiteY5" fmla="*/ 2968566 h 2968566"/>
              <a:gd name="connsiteX6" fmla="*/ 0 w 2249476"/>
              <a:gd name="connsiteY6" fmla="*/ 2968566 h 2968566"/>
              <a:gd name="connsiteX7" fmla="*/ 0 w 2249476"/>
              <a:gd name="connsiteY7" fmla="*/ 1124712 h 2968566"/>
              <a:gd name="connsiteX8" fmla="*/ 0 w 2249476"/>
              <a:gd name="connsiteY8" fmla="*/ 1122144 h 2968566"/>
              <a:gd name="connsiteX9" fmla="*/ 130 w 2249476"/>
              <a:gd name="connsiteY9" fmla="*/ 1122144 h 2968566"/>
              <a:gd name="connsiteX10" fmla="*/ 5807 w 2249476"/>
              <a:gd name="connsiteY10" fmla="*/ 1009717 h 2968566"/>
              <a:gd name="connsiteX11" fmla="*/ 1124738 w 2249476"/>
              <a:gd name="connsiteY11" fmla="*/ 0 h 2968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49476" h="2968566">
                <a:moveTo>
                  <a:pt x="1124738" y="0"/>
                </a:moveTo>
                <a:cubicBezTo>
                  <a:pt x="1707091" y="0"/>
                  <a:pt x="2186071" y="442574"/>
                  <a:pt x="2243669" y="1009717"/>
                </a:cubicBezTo>
                <a:lnTo>
                  <a:pt x="2249346" y="1122144"/>
                </a:lnTo>
                <a:lnTo>
                  <a:pt x="2249476" y="1122144"/>
                </a:lnTo>
                <a:lnTo>
                  <a:pt x="2249476" y="1124712"/>
                </a:lnTo>
                <a:lnTo>
                  <a:pt x="2249476" y="2968566"/>
                </a:lnTo>
                <a:lnTo>
                  <a:pt x="0" y="2968566"/>
                </a:lnTo>
                <a:lnTo>
                  <a:pt x="0" y="1124712"/>
                </a:lnTo>
                <a:lnTo>
                  <a:pt x="0" y="1122144"/>
                </a:lnTo>
                <a:lnTo>
                  <a:pt x="130" y="1122144"/>
                </a:lnTo>
                <a:lnTo>
                  <a:pt x="5807" y="1009717"/>
                </a:lnTo>
                <a:cubicBezTo>
                  <a:pt x="63405" y="442574"/>
                  <a:pt x="542386" y="0"/>
                  <a:pt x="1124738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44" name="Text Placeholder 11">
            <a:extLst>
              <a:ext uri="{FF2B5EF4-FFF2-40B4-BE49-F238E27FC236}">
                <a16:creationId xmlns:a16="http://schemas.microsoft.com/office/drawing/2014/main" id="{7704408B-76F7-482D-B0CF-50B3EBF48AD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94938" y="4988754"/>
            <a:ext cx="2249476" cy="20132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905481F6-36A2-472C-A4B3-1926E7472C4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94939" y="5259994"/>
            <a:ext cx="2249476" cy="22070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rgbClr val="00B0F0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C3BA04A0-9238-489C-A229-9433E3111A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94939" y="5582484"/>
            <a:ext cx="2249476" cy="516361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 err="1"/>
              <a:t>Bodycopy</a:t>
            </a:r>
            <a:endParaRPr lang="en-US" dirty="0"/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5E8C78DF-4D4F-427D-95F8-071123AE7ED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994938" y="1760506"/>
            <a:ext cx="2249476" cy="2968566"/>
          </a:xfrm>
          <a:custGeom>
            <a:avLst/>
            <a:gdLst>
              <a:gd name="connsiteX0" fmla="*/ 1124738 w 2249476"/>
              <a:gd name="connsiteY0" fmla="*/ 0 h 2968566"/>
              <a:gd name="connsiteX1" fmla="*/ 2243669 w 2249476"/>
              <a:gd name="connsiteY1" fmla="*/ 1009717 h 2968566"/>
              <a:gd name="connsiteX2" fmla="*/ 2249346 w 2249476"/>
              <a:gd name="connsiteY2" fmla="*/ 1122144 h 2968566"/>
              <a:gd name="connsiteX3" fmla="*/ 2249476 w 2249476"/>
              <a:gd name="connsiteY3" fmla="*/ 1122144 h 2968566"/>
              <a:gd name="connsiteX4" fmla="*/ 2249476 w 2249476"/>
              <a:gd name="connsiteY4" fmla="*/ 1124712 h 2968566"/>
              <a:gd name="connsiteX5" fmla="*/ 2249476 w 2249476"/>
              <a:gd name="connsiteY5" fmla="*/ 2968566 h 2968566"/>
              <a:gd name="connsiteX6" fmla="*/ 0 w 2249476"/>
              <a:gd name="connsiteY6" fmla="*/ 2968566 h 2968566"/>
              <a:gd name="connsiteX7" fmla="*/ 0 w 2249476"/>
              <a:gd name="connsiteY7" fmla="*/ 1124712 h 2968566"/>
              <a:gd name="connsiteX8" fmla="*/ 0 w 2249476"/>
              <a:gd name="connsiteY8" fmla="*/ 1122144 h 2968566"/>
              <a:gd name="connsiteX9" fmla="*/ 130 w 2249476"/>
              <a:gd name="connsiteY9" fmla="*/ 1122144 h 2968566"/>
              <a:gd name="connsiteX10" fmla="*/ 5807 w 2249476"/>
              <a:gd name="connsiteY10" fmla="*/ 1009717 h 2968566"/>
              <a:gd name="connsiteX11" fmla="*/ 1124738 w 2249476"/>
              <a:gd name="connsiteY11" fmla="*/ 0 h 2968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49476" h="2968566">
                <a:moveTo>
                  <a:pt x="1124738" y="0"/>
                </a:moveTo>
                <a:cubicBezTo>
                  <a:pt x="1707091" y="0"/>
                  <a:pt x="2186071" y="442574"/>
                  <a:pt x="2243669" y="1009717"/>
                </a:cubicBezTo>
                <a:lnTo>
                  <a:pt x="2249346" y="1122144"/>
                </a:lnTo>
                <a:lnTo>
                  <a:pt x="2249476" y="1122144"/>
                </a:lnTo>
                <a:lnTo>
                  <a:pt x="2249476" y="1124712"/>
                </a:lnTo>
                <a:lnTo>
                  <a:pt x="2249476" y="2968566"/>
                </a:lnTo>
                <a:lnTo>
                  <a:pt x="0" y="2968566"/>
                </a:lnTo>
                <a:lnTo>
                  <a:pt x="0" y="1124712"/>
                </a:lnTo>
                <a:lnTo>
                  <a:pt x="0" y="1122144"/>
                </a:lnTo>
                <a:lnTo>
                  <a:pt x="130" y="1122144"/>
                </a:lnTo>
                <a:lnTo>
                  <a:pt x="5807" y="1009717"/>
                </a:lnTo>
                <a:cubicBezTo>
                  <a:pt x="63405" y="442574"/>
                  <a:pt x="542386" y="0"/>
                  <a:pt x="1124738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C19CCF7C-8EA2-468E-A8F0-52F847E4CCC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949576" y="4986577"/>
            <a:ext cx="2249476" cy="20132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0791CD07-4374-44FD-ACF9-99ECF007A5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949577" y="5257817"/>
            <a:ext cx="2249476" cy="22070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rgbClr val="00B0F0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895E6D57-337A-40A3-882A-EACD09D6234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949577" y="5580307"/>
            <a:ext cx="2249476" cy="516361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 err="1"/>
              <a:t>Bodycopy</a:t>
            </a:r>
            <a:endParaRPr lang="en-US" dirty="0"/>
          </a:p>
        </p:txBody>
      </p:sp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id="{D50C3555-97F1-4B91-9E16-FFA6B1C3304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949576" y="1758329"/>
            <a:ext cx="2249476" cy="2968566"/>
          </a:xfrm>
          <a:custGeom>
            <a:avLst/>
            <a:gdLst>
              <a:gd name="connsiteX0" fmla="*/ 1124738 w 2249476"/>
              <a:gd name="connsiteY0" fmla="*/ 0 h 2968566"/>
              <a:gd name="connsiteX1" fmla="*/ 2243669 w 2249476"/>
              <a:gd name="connsiteY1" fmla="*/ 1009717 h 2968566"/>
              <a:gd name="connsiteX2" fmla="*/ 2249346 w 2249476"/>
              <a:gd name="connsiteY2" fmla="*/ 1122144 h 2968566"/>
              <a:gd name="connsiteX3" fmla="*/ 2249476 w 2249476"/>
              <a:gd name="connsiteY3" fmla="*/ 1122144 h 2968566"/>
              <a:gd name="connsiteX4" fmla="*/ 2249476 w 2249476"/>
              <a:gd name="connsiteY4" fmla="*/ 1124712 h 2968566"/>
              <a:gd name="connsiteX5" fmla="*/ 2249476 w 2249476"/>
              <a:gd name="connsiteY5" fmla="*/ 2968566 h 2968566"/>
              <a:gd name="connsiteX6" fmla="*/ 0 w 2249476"/>
              <a:gd name="connsiteY6" fmla="*/ 2968566 h 2968566"/>
              <a:gd name="connsiteX7" fmla="*/ 0 w 2249476"/>
              <a:gd name="connsiteY7" fmla="*/ 1124712 h 2968566"/>
              <a:gd name="connsiteX8" fmla="*/ 0 w 2249476"/>
              <a:gd name="connsiteY8" fmla="*/ 1122144 h 2968566"/>
              <a:gd name="connsiteX9" fmla="*/ 130 w 2249476"/>
              <a:gd name="connsiteY9" fmla="*/ 1122144 h 2968566"/>
              <a:gd name="connsiteX10" fmla="*/ 5807 w 2249476"/>
              <a:gd name="connsiteY10" fmla="*/ 1009717 h 2968566"/>
              <a:gd name="connsiteX11" fmla="*/ 1124738 w 2249476"/>
              <a:gd name="connsiteY11" fmla="*/ 0 h 2968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49476" h="2968566">
                <a:moveTo>
                  <a:pt x="1124738" y="0"/>
                </a:moveTo>
                <a:cubicBezTo>
                  <a:pt x="1707091" y="0"/>
                  <a:pt x="2186071" y="442574"/>
                  <a:pt x="2243669" y="1009717"/>
                </a:cubicBezTo>
                <a:lnTo>
                  <a:pt x="2249346" y="1122144"/>
                </a:lnTo>
                <a:lnTo>
                  <a:pt x="2249476" y="1122144"/>
                </a:lnTo>
                <a:lnTo>
                  <a:pt x="2249476" y="1124712"/>
                </a:lnTo>
                <a:lnTo>
                  <a:pt x="2249476" y="2968566"/>
                </a:lnTo>
                <a:lnTo>
                  <a:pt x="0" y="2968566"/>
                </a:lnTo>
                <a:lnTo>
                  <a:pt x="0" y="1124712"/>
                </a:lnTo>
                <a:lnTo>
                  <a:pt x="0" y="1122144"/>
                </a:lnTo>
                <a:lnTo>
                  <a:pt x="130" y="1122144"/>
                </a:lnTo>
                <a:lnTo>
                  <a:pt x="5807" y="1009717"/>
                </a:lnTo>
                <a:cubicBezTo>
                  <a:pt x="63405" y="442574"/>
                  <a:pt x="542386" y="0"/>
                  <a:pt x="1124738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8649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>
            <a:extLst>
              <a:ext uri="{FF2B5EF4-FFF2-40B4-BE49-F238E27FC236}">
                <a16:creationId xmlns:a16="http://schemas.microsoft.com/office/drawing/2014/main" id="{A8EA416A-9067-42B4-8E58-C4FE05C11D61}"/>
              </a:ext>
            </a:extLst>
          </p:cNvPr>
          <p:cNvSpPr/>
          <p:nvPr userDrawn="1"/>
        </p:nvSpPr>
        <p:spPr>
          <a:xfrm>
            <a:off x="2525820" y="3675519"/>
            <a:ext cx="4381416" cy="438141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922EC6-2E56-44A6-9DBD-C06649C34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862455" y="80241"/>
            <a:ext cx="4114800" cy="365125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5835CB-4367-4D86-A8AB-7FF99BF9A6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34055" y="6356350"/>
            <a:ext cx="2743200" cy="365125"/>
          </a:xfrm>
        </p:spPr>
        <p:txBody>
          <a:bodyPr/>
          <a:lstStyle>
            <a:lvl1pPr>
              <a:defRPr sz="800" b="1"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CFB5EB4-F87C-46FA-AB30-D41D654042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6155872" cy="6858000"/>
          </a:xfrm>
          <a:prstGeom prst="flowChartDelay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195498BF-C453-455C-B93F-50FC57C3B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19193" y="1399039"/>
            <a:ext cx="4557764" cy="706934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838B5BC8-35A5-495C-84E5-43C54CC273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9193" y="2138631"/>
            <a:ext cx="4557764" cy="89807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33317595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DA1929-3A2D-499F-A826-43F8731D06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5999" y="114577"/>
            <a:ext cx="4114800" cy="365125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920172-862C-4BCC-8082-E1686BC1F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05999" y="6356350"/>
            <a:ext cx="2743200" cy="365125"/>
          </a:xfrm>
        </p:spPr>
        <p:txBody>
          <a:bodyPr/>
          <a:lstStyle>
            <a:lvl1pPr algn="l">
              <a:defRPr sz="800"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4ECC9224-D956-4E99-9241-4FB3CD89B86E}"/>
              </a:ext>
            </a:extLst>
          </p:cNvPr>
          <p:cNvSpPr/>
          <p:nvPr userDrawn="1"/>
        </p:nvSpPr>
        <p:spPr>
          <a:xfrm rot="10800000">
            <a:off x="9386802" y="656492"/>
            <a:ext cx="2805198" cy="5572026"/>
          </a:xfrm>
          <a:custGeom>
            <a:avLst/>
            <a:gdLst>
              <a:gd name="connsiteX0" fmla="*/ 19184 w 2805198"/>
              <a:gd name="connsiteY0" fmla="*/ 0 h 5572026"/>
              <a:gd name="connsiteX1" fmla="*/ 2805198 w 2805198"/>
              <a:gd name="connsiteY1" fmla="*/ 2786013 h 5572026"/>
              <a:gd name="connsiteX2" fmla="*/ 19184 w 2805198"/>
              <a:gd name="connsiteY2" fmla="*/ 5572026 h 5572026"/>
              <a:gd name="connsiteX3" fmla="*/ 0 w 2805198"/>
              <a:gd name="connsiteY3" fmla="*/ 5571058 h 5572026"/>
              <a:gd name="connsiteX4" fmla="*/ 0 w 2805198"/>
              <a:gd name="connsiteY4" fmla="*/ 969 h 5572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05198" h="5572026">
                <a:moveTo>
                  <a:pt x="19184" y="0"/>
                </a:moveTo>
                <a:cubicBezTo>
                  <a:pt x="1557857" y="0"/>
                  <a:pt x="2805198" y="1247341"/>
                  <a:pt x="2805198" y="2786013"/>
                </a:cubicBezTo>
                <a:cubicBezTo>
                  <a:pt x="2805198" y="4324685"/>
                  <a:pt x="1557857" y="5572026"/>
                  <a:pt x="19184" y="5572026"/>
                </a:cubicBezTo>
                <a:lnTo>
                  <a:pt x="0" y="5571058"/>
                </a:lnTo>
                <a:lnTo>
                  <a:pt x="0" y="969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D0A4CF6-B8ED-4B9A-BC29-A212380A1CB7}"/>
              </a:ext>
            </a:extLst>
          </p:cNvPr>
          <p:cNvSpPr/>
          <p:nvPr userDrawn="1"/>
        </p:nvSpPr>
        <p:spPr>
          <a:xfrm rot="10800000">
            <a:off x="5528634" y="656492"/>
            <a:ext cx="2805198" cy="5572026"/>
          </a:xfrm>
          <a:custGeom>
            <a:avLst/>
            <a:gdLst>
              <a:gd name="connsiteX0" fmla="*/ 19184 w 2805198"/>
              <a:gd name="connsiteY0" fmla="*/ 0 h 5572026"/>
              <a:gd name="connsiteX1" fmla="*/ 2805198 w 2805198"/>
              <a:gd name="connsiteY1" fmla="*/ 2786013 h 5572026"/>
              <a:gd name="connsiteX2" fmla="*/ 19184 w 2805198"/>
              <a:gd name="connsiteY2" fmla="*/ 5572026 h 5572026"/>
              <a:gd name="connsiteX3" fmla="*/ 0 w 2805198"/>
              <a:gd name="connsiteY3" fmla="*/ 5571058 h 5572026"/>
              <a:gd name="connsiteX4" fmla="*/ 0 w 2805198"/>
              <a:gd name="connsiteY4" fmla="*/ 969 h 5572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05198" h="5572026">
                <a:moveTo>
                  <a:pt x="19184" y="0"/>
                </a:moveTo>
                <a:cubicBezTo>
                  <a:pt x="1557857" y="0"/>
                  <a:pt x="2805198" y="1247341"/>
                  <a:pt x="2805198" y="2786013"/>
                </a:cubicBezTo>
                <a:cubicBezTo>
                  <a:pt x="2805198" y="4324685"/>
                  <a:pt x="1557857" y="5572026"/>
                  <a:pt x="19184" y="5572026"/>
                </a:cubicBezTo>
                <a:lnTo>
                  <a:pt x="0" y="5571058"/>
                </a:lnTo>
                <a:lnTo>
                  <a:pt x="0" y="969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AF9256C-322C-41FD-9CDE-E5A7831666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2741" y="2317252"/>
            <a:ext cx="4167920" cy="1150782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7C9A6529-A693-41BF-9CB0-C88EB3C254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2741" y="3468034"/>
            <a:ext cx="4167920" cy="224242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0DE1976C-F61E-4893-9A55-D4D1097C3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741" y="1908310"/>
            <a:ext cx="4167920" cy="338493"/>
          </a:xfrm>
        </p:spPr>
        <p:txBody>
          <a:bodyPr>
            <a:normAutofit/>
          </a:bodyPr>
          <a:lstStyle>
            <a:lvl1pPr marL="0" indent="0">
              <a:buNone/>
              <a:defRPr sz="1400" spc="300">
                <a:solidFill>
                  <a:schemeClr val="tx2">
                    <a:lumMod val="5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198E0C6E-F8CB-4C7E-8C73-DCC18F7E59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44303" y="1414363"/>
            <a:ext cx="2444723" cy="317068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accent6">
                    <a:lumMod val="90000"/>
                    <a:lumOff val="1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E05FE3A4-D46A-4437-A663-E696211056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44303" y="1612901"/>
            <a:ext cx="2444723" cy="419100"/>
          </a:xfrm>
        </p:spPr>
        <p:txBody>
          <a:bodyPr>
            <a:noAutofit/>
          </a:bodyPr>
          <a:lstStyle>
            <a:lvl1pPr marL="0" indent="0" algn="just">
              <a:lnSpc>
                <a:spcPct val="150000"/>
              </a:lnSpc>
              <a:buNone/>
              <a:defRPr sz="1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20D07A3-3DE8-4290-9283-787F44B79B51}"/>
              </a:ext>
            </a:extLst>
          </p:cNvPr>
          <p:cNvCxnSpPr/>
          <p:nvPr userDrawn="1"/>
        </p:nvCxnSpPr>
        <p:spPr>
          <a:xfrm>
            <a:off x="9144303" y="2246803"/>
            <a:ext cx="2444723" cy="0"/>
          </a:xfrm>
          <a:prstGeom prst="line">
            <a:avLst/>
          </a:prstGeom>
          <a:ln w="12700">
            <a:solidFill>
              <a:schemeClr val="accent6">
                <a:lumMod val="90000"/>
                <a:lumOff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24C9B696-D8DC-431F-98E1-BFD27D99AC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44303" y="2682404"/>
            <a:ext cx="2444723" cy="32074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accent6">
                    <a:lumMod val="90000"/>
                    <a:lumOff val="1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4E367B7B-5F1D-46B1-B045-94D99009B21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44303" y="2884616"/>
            <a:ext cx="2444723" cy="419100"/>
          </a:xfrm>
        </p:spPr>
        <p:txBody>
          <a:bodyPr>
            <a:noAutofit/>
          </a:bodyPr>
          <a:lstStyle>
            <a:lvl1pPr marL="0" indent="0" algn="just">
              <a:lnSpc>
                <a:spcPct val="150000"/>
              </a:lnSpc>
              <a:buNone/>
              <a:defRPr sz="1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1A49172-A305-42D3-9D0F-EDF7747DE13D}"/>
              </a:ext>
            </a:extLst>
          </p:cNvPr>
          <p:cNvCxnSpPr/>
          <p:nvPr userDrawn="1"/>
        </p:nvCxnSpPr>
        <p:spPr>
          <a:xfrm>
            <a:off x="9144303" y="3518518"/>
            <a:ext cx="2444723" cy="0"/>
          </a:xfrm>
          <a:prstGeom prst="line">
            <a:avLst/>
          </a:prstGeom>
          <a:ln w="12700">
            <a:solidFill>
              <a:schemeClr val="accent6">
                <a:lumMod val="90000"/>
                <a:lumOff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EE12EC21-5D5D-41A5-B133-689101BB96F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44303" y="4063035"/>
            <a:ext cx="2444723" cy="28003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accent6">
                    <a:lumMod val="90000"/>
                    <a:lumOff val="1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371474E2-B2AA-4A12-984E-6AAE0B4F861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44303" y="4224541"/>
            <a:ext cx="2444723" cy="419100"/>
          </a:xfrm>
        </p:spPr>
        <p:txBody>
          <a:bodyPr>
            <a:noAutofit/>
          </a:bodyPr>
          <a:lstStyle>
            <a:lvl1pPr marL="0" indent="0" algn="just">
              <a:lnSpc>
                <a:spcPct val="150000"/>
              </a:lnSpc>
              <a:buNone/>
              <a:defRPr sz="1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D673FDC-8C2A-42DD-BFF5-E185E727EEDB}"/>
              </a:ext>
            </a:extLst>
          </p:cNvPr>
          <p:cNvCxnSpPr/>
          <p:nvPr userDrawn="1"/>
        </p:nvCxnSpPr>
        <p:spPr>
          <a:xfrm>
            <a:off x="9144303" y="4858443"/>
            <a:ext cx="2444723" cy="0"/>
          </a:xfrm>
          <a:prstGeom prst="line">
            <a:avLst/>
          </a:prstGeom>
          <a:ln w="12700">
            <a:solidFill>
              <a:schemeClr val="accent6">
                <a:lumMod val="90000"/>
                <a:lumOff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830FD5A8-26D2-435B-B9C4-682262A3C04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144303" y="5287645"/>
            <a:ext cx="2444723" cy="38895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348A31DB-DC47-4AC4-8F10-3AFA7AEBEC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44302" y="5703531"/>
            <a:ext cx="2444723" cy="954188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D2F97ABF-B2DB-475F-ACD8-B84F85D4D1A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28634" y="1351722"/>
            <a:ext cx="3120194" cy="5506278"/>
          </a:xfrm>
          <a:noFill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7034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val 14">
            <a:extLst>
              <a:ext uri="{FF2B5EF4-FFF2-40B4-BE49-F238E27FC236}">
                <a16:creationId xmlns:a16="http://schemas.microsoft.com/office/drawing/2014/main" id="{F92AD9E5-9B61-48EF-B7BA-0FF58338745B}"/>
              </a:ext>
            </a:extLst>
          </p:cNvPr>
          <p:cNvSpPr/>
          <p:nvPr userDrawn="1"/>
        </p:nvSpPr>
        <p:spPr>
          <a:xfrm>
            <a:off x="-1400970" y="4045251"/>
            <a:ext cx="3943002" cy="394300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172F1C3-D024-4E27-A9E3-149974F1C68C}"/>
              </a:ext>
            </a:extLst>
          </p:cNvPr>
          <p:cNvSpPr/>
          <p:nvPr userDrawn="1"/>
        </p:nvSpPr>
        <p:spPr>
          <a:xfrm flipH="1">
            <a:off x="5198533" y="0"/>
            <a:ext cx="6993467" cy="6858000"/>
          </a:xfrm>
          <a:prstGeom prst="rect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036F09-9267-47C7-9DE6-A06B3CAF17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865533" y="124884"/>
            <a:ext cx="4114800" cy="365125"/>
          </a:xfrm>
        </p:spPr>
        <p:txBody>
          <a:bodyPr/>
          <a:lstStyle>
            <a:lvl1pPr algn="r">
              <a:defRPr spc="3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2B46EC-0234-4937-AD9B-B2595018B9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37133" y="6356350"/>
            <a:ext cx="2743200" cy="365125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ECADBCC-E296-466A-B094-6CACE05646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931292" y="3429000"/>
            <a:ext cx="2727646" cy="2725738"/>
          </a:xfrm>
          <a:prstGeom prst="ellipse">
            <a:avLst/>
          </a:prstGeom>
          <a:pattFill prst="ltDnDiag">
            <a:fgClr>
              <a:schemeClr val="accent1"/>
            </a:fgClr>
            <a:bgClr>
              <a:schemeClr val="bg1"/>
            </a:bgClr>
          </a:pattFill>
          <a:ln w="28575">
            <a:solidFill>
              <a:srgbClr val="00B0F0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AB722005-05F6-425F-B319-8A9B6EFEA4C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931292" y="703262"/>
            <a:ext cx="2727646" cy="2725738"/>
          </a:xfrm>
          <a:prstGeom prst="ellipse">
            <a:avLst/>
          </a:prstGeom>
          <a:pattFill prst="ltDnDiag">
            <a:fgClr>
              <a:schemeClr val="accent1"/>
            </a:fgClr>
            <a:bgClr>
              <a:schemeClr val="bg1"/>
            </a:bgClr>
          </a:pattFill>
          <a:ln w="28575">
            <a:solidFill>
              <a:srgbClr val="00B0F0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A7F52344-3049-4782-83F3-CA0219EC243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2198" y="1693858"/>
            <a:ext cx="3472714" cy="3470284"/>
          </a:xfrm>
          <a:prstGeom prst="ellipse">
            <a:avLst/>
          </a:prstGeom>
          <a:pattFill prst="ltDnDiag">
            <a:fgClr>
              <a:schemeClr val="accent1"/>
            </a:fgClr>
            <a:bgClr>
              <a:schemeClr val="bg1"/>
            </a:bgClr>
          </a:pattFill>
          <a:ln w="28575">
            <a:solidFill>
              <a:srgbClr val="00B0F0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3A8E93D-75D6-46FE-AD4C-D933AAAA95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65532" y="1624974"/>
            <a:ext cx="3699713" cy="1150782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E66AB326-667E-4507-B3E0-35181FD66D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65532" y="2775756"/>
            <a:ext cx="3699714" cy="2456643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27846688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FC2236C-661E-4E18-8243-9E464C0A5DCA}"/>
              </a:ext>
            </a:extLst>
          </p:cNvPr>
          <p:cNvSpPr/>
          <p:nvPr userDrawn="1"/>
        </p:nvSpPr>
        <p:spPr>
          <a:xfrm>
            <a:off x="0" y="-1"/>
            <a:ext cx="12191999" cy="6858001"/>
          </a:xfrm>
          <a:prstGeom prst="rect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0" name="Picture Placeholder 89">
            <a:extLst>
              <a:ext uri="{FF2B5EF4-FFF2-40B4-BE49-F238E27FC236}">
                <a16:creationId xmlns:a16="http://schemas.microsoft.com/office/drawing/2014/main" id="{880C612B-C963-4AD3-8692-5E09CC8DF1D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641234" y="914400"/>
            <a:ext cx="4752733" cy="5029198"/>
          </a:xfrm>
          <a:custGeom>
            <a:avLst/>
            <a:gdLst>
              <a:gd name="connsiteX0" fmla="*/ 2514600 w 4752733"/>
              <a:gd name="connsiteY0" fmla="*/ 0 h 5029198"/>
              <a:gd name="connsiteX1" fmla="*/ 4725702 w 4752733"/>
              <a:gd name="connsiteY1" fmla="*/ 1315992 h 5029198"/>
              <a:gd name="connsiteX2" fmla="*/ 4752733 w 4752733"/>
              <a:gd name="connsiteY2" fmla="*/ 1372105 h 5029198"/>
              <a:gd name="connsiteX3" fmla="*/ 4668071 w 4752733"/>
              <a:gd name="connsiteY3" fmla="*/ 1412888 h 5029198"/>
              <a:gd name="connsiteX4" fmla="*/ 3993203 w 4752733"/>
              <a:gd name="connsiteY4" fmla="*/ 2546786 h 5029198"/>
              <a:gd name="connsiteX5" fmla="*/ 4668071 w 4752733"/>
              <a:gd name="connsiteY5" fmla="*/ 3680684 h 5029198"/>
              <a:gd name="connsiteX6" fmla="*/ 4727563 w 4752733"/>
              <a:gd name="connsiteY6" fmla="*/ 3709343 h 5029198"/>
              <a:gd name="connsiteX7" fmla="*/ 4725702 w 4752733"/>
              <a:gd name="connsiteY7" fmla="*/ 3713207 h 5029198"/>
              <a:gd name="connsiteX8" fmla="*/ 2514600 w 4752733"/>
              <a:gd name="connsiteY8" fmla="*/ 5029198 h 5029198"/>
              <a:gd name="connsiteX9" fmla="*/ 0 w 4752733"/>
              <a:gd name="connsiteY9" fmla="*/ 2514599 h 5029198"/>
              <a:gd name="connsiteX10" fmla="*/ 2514600 w 4752733"/>
              <a:gd name="connsiteY10" fmla="*/ 0 h 502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52733" h="5029198">
                <a:moveTo>
                  <a:pt x="2514600" y="0"/>
                </a:moveTo>
                <a:cubicBezTo>
                  <a:pt x="3469383" y="0"/>
                  <a:pt x="4299881" y="532128"/>
                  <a:pt x="4725702" y="1315992"/>
                </a:cubicBezTo>
                <a:lnTo>
                  <a:pt x="4752733" y="1372105"/>
                </a:lnTo>
                <a:lnTo>
                  <a:pt x="4668071" y="1412888"/>
                </a:lnTo>
                <a:cubicBezTo>
                  <a:pt x="4266089" y="1631258"/>
                  <a:pt x="3993203" y="2057154"/>
                  <a:pt x="3993203" y="2546786"/>
                </a:cubicBezTo>
                <a:cubicBezTo>
                  <a:pt x="3993203" y="3036418"/>
                  <a:pt x="4266089" y="3462314"/>
                  <a:pt x="4668071" y="3680684"/>
                </a:cubicBezTo>
                <a:lnTo>
                  <a:pt x="4727563" y="3709343"/>
                </a:lnTo>
                <a:lnTo>
                  <a:pt x="4725702" y="3713207"/>
                </a:lnTo>
                <a:cubicBezTo>
                  <a:pt x="4299881" y="4497070"/>
                  <a:pt x="3469383" y="5029198"/>
                  <a:pt x="2514600" y="5029198"/>
                </a:cubicBezTo>
                <a:cubicBezTo>
                  <a:pt x="1125825" y="5029198"/>
                  <a:pt x="0" y="3903374"/>
                  <a:pt x="0" y="2514599"/>
                </a:cubicBezTo>
                <a:cubicBezTo>
                  <a:pt x="0" y="1125824"/>
                  <a:pt x="1125825" y="0"/>
                  <a:pt x="2514600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6843C946-BDE0-44DB-8931-622A68B6447C}"/>
              </a:ext>
            </a:extLst>
          </p:cNvPr>
          <p:cNvGrpSpPr/>
          <p:nvPr userDrawn="1"/>
        </p:nvGrpSpPr>
        <p:grpSpPr>
          <a:xfrm>
            <a:off x="7240330" y="2734218"/>
            <a:ext cx="3490837" cy="1271018"/>
            <a:chOff x="2450892" y="-2011841"/>
            <a:chExt cx="3490837" cy="1271018"/>
          </a:xfrm>
          <a:solidFill>
            <a:schemeClr val="bg1"/>
          </a:solidFill>
        </p:grpSpPr>
        <p:sp>
          <p:nvSpPr>
            <p:cNvPr id="14" name="Oval 98">
              <a:extLst>
                <a:ext uri="{FF2B5EF4-FFF2-40B4-BE49-F238E27FC236}">
                  <a16:creationId xmlns:a16="http://schemas.microsoft.com/office/drawing/2014/main" id="{D9AB2EEC-95DF-4FB8-B922-A6F211713AD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450892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Oval 99">
              <a:extLst>
                <a:ext uri="{FF2B5EF4-FFF2-40B4-BE49-F238E27FC236}">
                  <a16:creationId xmlns:a16="http://schemas.microsoft.com/office/drawing/2014/main" id="{B10EB633-9CD2-45DF-84E1-32BED78CC6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815244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Oval 100">
              <a:extLst>
                <a:ext uri="{FF2B5EF4-FFF2-40B4-BE49-F238E27FC236}">
                  <a16:creationId xmlns:a16="http://schemas.microsoft.com/office/drawing/2014/main" id="{8D36250C-3794-4C00-AA4E-6031A22437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179595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Oval 102">
              <a:extLst>
                <a:ext uri="{FF2B5EF4-FFF2-40B4-BE49-F238E27FC236}">
                  <a16:creationId xmlns:a16="http://schemas.microsoft.com/office/drawing/2014/main" id="{85E363CC-B0E3-4435-B196-B1670D5F48F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907432" y="-1284006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103">
              <a:extLst>
                <a:ext uri="{FF2B5EF4-FFF2-40B4-BE49-F238E27FC236}">
                  <a16:creationId xmlns:a16="http://schemas.microsoft.com/office/drawing/2014/main" id="{E80E3750-FCFE-4046-8F8D-811B495503B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271783" y="-1284006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Oval 104">
              <a:extLst>
                <a:ext uri="{FF2B5EF4-FFF2-40B4-BE49-F238E27FC236}">
                  <a16:creationId xmlns:a16="http://schemas.microsoft.com/office/drawing/2014/main" id="{5C23116B-1AB3-4E20-B500-45CEA4C22E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635268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105">
              <a:extLst>
                <a:ext uri="{FF2B5EF4-FFF2-40B4-BE49-F238E27FC236}">
                  <a16:creationId xmlns:a16="http://schemas.microsoft.com/office/drawing/2014/main" id="{95F53D2C-19A9-4F96-86B3-94750B80E81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999620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106">
              <a:extLst>
                <a:ext uri="{FF2B5EF4-FFF2-40B4-BE49-F238E27FC236}">
                  <a16:creationId xmlns:a16="http://schemas.microsoft.com/office/drawing/2014/main" id="{5178496E-49E5-460A-82AA-E579203138F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363971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Oval 119">
              <a:extLst>
                <a:ext uri="{FF2B5EF4-FFF2-40B4-BE49-F238E27FC236}">
                  <a16:creationId xmlns:a16="http://schemas.microsoft.com/office/drawing/2014/main" id="{63BAEAC0-95CC-4BA3-8CA1-24938FC6088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451759" y="-1648356"/>
              <a:ext cx="213407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120">
              <a:extLst>
                <a:ext uri="{FF2B5EF4-FFF2-40B4-BE49-F238E27FC236}">
                  <a16:creationId xmlns:a16="http://schemas.microsoft.com/office/drawing/2014/main" id="{BFA2826B-9EF8-42F3-A7EF-88E2CFA093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816111" y="-1648356"/>
              <a:ext cx="213407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121">
              <a:extLst>
                <a:ext uri="{FF2B5EF4-FFF2-40B4-BE49-F238E27FC236}">
                  <a16:creationId xmlns:a16="http://schemas.microsoft.com/office/drawing/2014/main" id="{8D526189-C2D0-4CF2-BFC3-3EB7BA1A5CD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180463" y="-1648356"/>
              <a:ext cx="213407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122">
              <a:extLst>
                <a:ext uri="{FF2B5EF4-FFF2-40B4-BE49-F238E27FC236}">
                  <a16:creationId xmlns:a16="http://schemas.microsoft.com/office/drawing/2014/main" id="{B5351FEA-B9F3-4546-85B8-8BD58827A5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543947" y="-1647489"/>
              <a:ext cx="213407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123">
              <a:extLst>
                <a:ext uri="{FF2B5EF4-FFF2-40B4-BE49-F238E27FC236}">
                  <a16:creationId xmlns:a16="http://schemas.microsoft.com/office/drawing/2014/main" id="{830C3389-B323-440D-A282-AF1181004C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908299" y="-1647489"/>
              <a:ext cx="213407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124">
              <a:extLst>
                <a:ext uri="{FF2B5EF4-FFF2-40B4-BE49-F238E27FC236}">
                  <a16:creationId xmlns:a16="http://schemas.microsoft.com/office/drawing/2014/main" id="{2DD6AB6A-0868-44F3-AA25-CDF439E8D16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272651" y="-1647489"/>
              <a:ext cx="213407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126">
              <a:extLst>
                <a:ext uri="{FF2B5EF4-FFF2-40B4-BE49-F238E27FC236}">
                  <a16:creationId xmlns:a16="http://schemas.microsoft.com/office/drawing/2014/main" id="{BB5C0EB6-3E69-436A-9528-5C8C3E9BDF1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000487" y="-1648356"/>
              <a:ext cx="213407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128">
              <a:extLst>
                <a:ext uri="{FF2B5EF4-FFF2-40B4-BE49-F238E27FC236}">
                  <a16:creationId xmlns:a16="http://schemas.microsoft.com/office/drawing/2014/main" id="{21820980-2E47-4383-A7D6-29F3CD8BFB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728322" y="-1647489"/>
              <a:ext cx="213407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140">
              <a:extLst>
                <a:ext uri="{FF2B5EF4-FFF2-40B4-BE49-F238E27FC236}">
                  <a16:creationId xmlns:a16="http://schemas.microsoft.com/office/drawing/2014/main" id="{A4A7F7C7-C593-4F26-8856-3A20D67019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450892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141">
              <a:extLst>
                <a:ext uri="{FF2B5EF4-FFF2-40B4-BE49-F238E27FC236}">
                  <a16:creationId xmlns:a16="http://schemas.microsoft.com/office/drawing/2014/main" id="{11868F69-DACE-4C33-BF00-0F17D4EFE7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815244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142">
              <a:extLst>
                <a:ext uri="{FF2B5EF4-FFF2-40B4-BE49-F238E27FC236}">
                  <a16:creationId xmlns:a16="http://schemas.microsoft.com/office/drawing/2014/main" id="{EEB6B63F-487C-4B54-9ACD-ACD9C0CD84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179595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143">
              <a:extLst>
                <a:ext uri="{FF2B5EF4-FFF2-40B4-BE49-F238E27FC236}">
                  <a16:creationId xmlns:a16="http://schemas.microsoft.com/office/drawing/2014/main" id="{7EBBE144-9DD3-46EC-9044-FD92BA9809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543080" y="-2010974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144">
              <a:extLst>
                <a:ext uri="{FF2B5EF4-FFF2-40B4-BE49-F238E27FC236}">
                  <a16:creationId xmlns:a16="http://schemas.microsoft.com/office/drawing/2014/main" id="{E7251B75-E379-4DA7-8B14-F57AC39522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907432" y="-2010974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Oval 145">
              <a:extLst>
                <a:ext uri="{FF2B5EF4-FFF2-40B4-BE49-F238E27FC236}">
                  <a16:creationId xmlns:a16="http://schemas.microsoft.com/office/drawing/2014/main" id="{CC578715-918F-428D-A9A1-4F0DC05C12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271783" y="-2010974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Oval 146">
              <a:extLst>
                <a:ext uri="{FF2B5EF4-FFF2-40B4-BE49-F238E27FC236}">
                  <a16:creationId xmlns:a16="http://schemas.microsoft.com/office/drawing/2014/main" id="{93E1AC8A-8834-4D06-9FA7-A673A1DF9E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635268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Oval 147">
              <a:extLst>
                <a:ext uri="{FF2B5EF4-FFF2-40B4-BE49-F238E27FC236}">
                  <a16:creationId xmlns:a16="http://schemas.microsoft.com/office/drawing/2014/main" id="{FD2BB83E-5B59-49D7-81C4-BA49979D8C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999620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Oval 148">
              <a:extLst>
                <a:ext uri="{FF2B5EF4-FFF2-40B4-BE49-F238E27FC236}">
                  <a16:creationId xmlns:a16="http://schemas.microsoft.com/office/drawing/2014/main" id="{FC390D38-2D72-4248-853A-6E5AECD3C5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363971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Oval 140">
              <a:extLst>
                <a:ext uri="{FF2B5EF4-FFF2-40B4-BE49-F238E27FC236}">
                  <a16:creationId xmlns:a16="http://schemas.microsoft.com/office/drawing/2014/main" id="{8BC90C1C-9EF9-44AB-B254-3E49E4BA4D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450892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Oval 141">
              <a:extLst>
                <a:ext uri="{FF2B5EF4-FFF2-40B4-BE49-F238E27FC236}">
                  <a16:creationId xmlns:a16="http://schemas.microsoft.com/office/drawing/2014/main" id="{F8FB7B3A-4C64-43F2-B595-A857FF3483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815244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Oval 142">
              <a:extLst>
                <a:ext uri="{FF2B5EF4-FFF2-40B4-BE49-F238E27FC236}">
                  <a16:creationId xmlns:a16="http://schemas.microsoft.com/office/drawing/2014/main" id="{08DD5A04-32C7-415A-A338-0BC0CD1187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179595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Oval 143">
              <a:extLst>
                <a:ext uri="{FF2B5EF4-FFF2-40B4-BE49-F238E27FC236}">
                  <a16:creationId xmlns:a16="http://schemas.microsoft.com/office/drawing/2014/main" id="{0FE4F5A7-2A4E-48A3-A09D-28DC9BFFA75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543080" y="-955097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Oval 144">
              <a:extLst>
                <a:ext uri="{FF2B5EF4-FFF2-40B4-BE49-F238E27FC236}">
                  <a16:creationId xmlns:a16="http://schemas.microsoft.com/office/drawing/2014/main" id="{C7538ADA-C95F-4278-8FD6-81119574F0D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907432" y="-955097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Oval 145">
              <a:extLst>
                <a:ext uri="{FF2B5EF4-FFF2-40B4-BE49-F238E27FC236}">
                  <a16:creationId xmlns:a16="http://schemas.microsoft.com/office/drawing/2014/main" id="{7D28A8BF-F0DF-4A2E-96D2-DC913D0122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271783" y="-955097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Oval 146">
              <a:extLst>
                <a:ext uri="{FF2B5EF4-FFF2-40B4-BE49-F238E27FC236}">
                  <a16:creationId xmlns:a16="http://schemas.microsoft.com/office/drawing/2014/main" id="{EA2F808A-08CF-4DFE-8B62-53431A9BC9F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635268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Oval 148">
              <a:extLst>
                <a:ext uri="{FF2B5EF4-FFF2-40B4-BE49-F238E27FC236}">
                  <a16:creationId xmlns:a16="http://schemas.microsoft.com/office/drawing/2014/main" id="{4777D19F-F33B-49DB-AF10-97864F1B7AC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363971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Oval 149">
              <a:extLst>
                <a:ext uri="{FF2B5EF4-FFF2-40B4-BE49-F238E27FC236}">
                  <a16:creationId xmlns:a16="http://schemas.microsoft.com/office/drawing/2014/main" id="{5582EEDE-1C0D-4EB7-84A8-7DACC813F3F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727455" y="-955097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" name="Oval 7">
            <a:extLst>
              <a:ext uri="{FF2B5EF4-FFF2-40B4-BE49-F238E27FC236}">
                <a16:creationId xmlns:a16="http://schemas.microsoft.com/office/drawing/2014/main" id="{FCAA9225-75C2-4BC4-8AB2-CA05B20C7A7F}"/>
              </a:ext>
            </a:extLst>
          </p:cNvPr>
          <p:cNvSpPr/>
          <p:nvPr userDrawn="1"/>
        </p:nvSpPr>
        <p:spPr>
          <a:xfrm>
            <a:off x="5634436" y="2171648"/>
            <a:ext cx="2579076" cy="2579076"/>
          </a:xfrm>
          <a:prstGeom prst="ellipse">
            <a:avLst/>
          </a:prstGeom>
          <a:solidFill>
            <a:schemeClr val="accent6">
              <a:lumMod val="90000"/>
              <a:lumOff val="10000"/>
            </a:schemeClr>
          </a:solidFill>
          <a:ln>
            <a:solidFill>
              <a:schemeClr val="accent6">
                <a:lumMod val="90000"/>
                <a:lumOff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1" name="Text Placeholder 11">
            <a:extLst>
              <a:ext uri="{FF2B5EF4-FFF2-40B4-BE49-F238E27FC236}">
                <a16:creationId xmlns:a16="http://schemas.microsoft.com/office/drawing/2014/main" id="{F9277A47-139D-402B-864D-5EDAA662DC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00486" y="2949359"/>
            <a:ext cx="1817602" cy="95473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2" name="Text Placeholder 11">
            <a:extLst>
              <a:ext uri="{FF2B5EF4-FFF2-40B4-BE49-F238E27FC236}">
                <a16:creationId xmlns:a16="http://schemas.microsoft.com/office/drawing/2014/main" id="{07D10957-D011-48DA-845E-A687286BD7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94857" y="2949360"/>
            <a:ext cx="2844155" cy="1238792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600" i="1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27110001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9406" y="6367135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8217C659-A733-4F6F-9D56-AA67BFAE7831}"/>
              </a:ext>
            </a:extLst>
          </p:cNvPr>
          <p:cNvSpPr/>
          <p:nvPr userDrawn="1"/>
        </p:nvSpPr>
        <p:spPr>
          <a:xfrm>
            <a:off x="3076628" y="-1649624"/>
            <a:ext cx="6111896" cy="6111896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Picture Placeholder 27">
            <a:extLst>
              <a:ext uri="{FF2B5EF4-FFF2-40B4-BE49-F238E27FC236}">
                <a16:creationId xmlns:a16="http://schemas.microsoft.com/office/drawing/2014/main" id="{D840A065-8E16-4E61-A1E5-06456FBD3E4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93242" y="2210657"/>
            <a:ext cx="2878668" cy="2878668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8" name="Picture Placeholder 27">
            <a:extLst>
              <a:ext uri="{FF2B5EF4-FFF2-40B4-BE49-F238E27FC236}">
                <a16:creationId xmlns:a16="http://schemas.microsoft.com/office/drawing/2014/main" id="{116F4853-B5D7-4620-B988-EC5B2B3E96F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58976" y="1059190"/>
            <a:ext cx="2878668" cy="2878668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27">
            <a:extLst>
              <a:ext uri="{FF2B5EF4-FFF2-40B4-BE49-F238E27FC236}">
                <a16:creationId xmlns:a16="http://schemas.microsoft.com/office/drawing/2014/main" id="{2C712A7D-6208-48C0-B7FB-640D07DC1D6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927508" y="1059190"/>
            <a:ext cx="2878668" cy="2878668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D2D3E6FD-2F56-4832-9278-57240D71C60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20876" y="4192279"/>
            <a:ext cx="1758268" cy="346971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8E9FC62B-9EDB-43B4-A449-F9C0D90DC3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120877" y="4413977"/>
            <a:ext cx="1758268" cy="32795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Shape 3906">
            <a:extLst>
              <a:ext uri="{FF2B5EF4-FFF2-40B4-BE49-F238E27FC236}">
                <a16:creationId xmlns:a16="http://schemas.microsoft.com/office/drawing/2014/main" id="{C347EA4D-974F-4F20-8153-FF4C374F476E}"/>
              </a:ext>
            </a:extLst>
          </p:cNvPr>
          <p:cNvSpPr/>
          <p:nvPr userDrawn="1"/>
        </p:nvSpPr>
        <p:spPr>
          <a:xfrm>
            <a:off x="2394844" y="4869658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2"/>
                  <a:pt x="11183" y="9162"/>
                  <a:pt x="11217" y="9308"/>
                </a:cubicBezTo>
                <a:cubicBezTo>
                  <a:pt x="9543" y="9226"/>
                  <a:pt x="8059" y="8436"/>
                  <a:pt x="7065" y="7236"/>
                </a:cubicBezTo>
                <a:cubicBezTo>
                  <a:pt x="6892" y="7530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2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4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rgbClr val="00B0F0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Shape 3907">
            <a:extLst>
              <a:ext uri="{FF2B5EF4-FFF2-40B4-BE49-F238E27FC236}">
                <a16:creationId xmlns:a16="http://schemas.microsoft.com/office/drawing/2014/main" id="{AD8ADDC0-1ADF-4E79-B423-748AC66373EC}"/>
              </a:ext>
            </a:extLst>
          </p:cNvPr>
          <p:cNvSpPr/>
          <p:nvPr userDrawn="1"/>
        </p:nvSpPr>
        <p:spPr>
          <a:xfrm>
            <a:off x="2857785" y="4869658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9" y="6381"/>
                  <a:pt x="9815" y="7120"/>
                  <a:pt x="9815" y="8363"/>
                </a:cubicBezTo>
                <a:lnTo>
                  <a:pt x="9815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5" y="10800"/>
                </a:lnTo>
                <a:lnTo>
                  <a:pt x="9815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B0F0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4" name="Shape 3916">
            <a:extLst>
              <a:ext uri="{FF2B5EF4-FFF2-40B4-BE49-F238E27FC236}">
                <a16:creationId xmlns:a16="http://schemas.microsoft.com/office/drawing/2014/main" id="{70DB7285-6093-4E97-B021-838FA6192247}"/>
              </a:ext>
            </a:extLst>
          </p:cNvPr>
          <p:cNvSpPr/>
          <p:nvPr userDrawn="1"/>
        </p:nvSpPr>
        <p:spPr>
          <a:xfrm>
            <a:off x="3320727" y="4869658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B0F0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CC190A13-4B62-4171-B6ED-2DF37520A8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716266" y="4191858"/>
            <a:ext cx="1758268" cy="346971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1C9948C5-20BD-4007-9433-DEFCEFED088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16267" y="4413556"/>
            <a:ext cx="1758268" cy="32795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Shape 3906">
            <a:extLst>
              <a:ext uri="{FF2B5EF4-FFF2-40B4-BE49-F238E27FC236}">
                <a16:creationId xmlns:a16="http://schemas.microsoft.com/office/drawing/2014/main" id="{1B39E279-00D0-4958-B052-E8B9D6C701B6}"/>
              </a:ext>
            </a:extLst>
          </p:cNvPr>
          <p:cNvSpPr/>
          <p:nvPr userDrawn="1"/>
        </p:nvSpPr>
        <p:spPr>
          <a:xfrm>
            <a:off x="8990234" y="4869237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2"/>
                  <a:pt x="11183" y="9162"/>
                  <a:pt x="11217" y="9308"/>
                </a:cubicBezTo>
                <a:cubicBezTo>
                  <a:pt x="9543" y="9226"/>
                  <a:pt x="8059" y="8436"/>
                  <a:pt x="7065" y="7236"/>
                </a:cubicBezTo>
                <a:cubicBezTo>
                  <a:pt x="6892" y="7530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2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4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rgbClr val="00B0F0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8" name="Shape 3907">
            <a:extLst>
              <a:ext uri="{FF2B5EF4-FFF2-40B4-BE49-F238E27FC236}">
                <a16:creationId xmlns:a16="http://schemas.microsoft.com/office/drawing/2014/main" id="{B599A87B-6D0C-4D04-9DF6-DF0776E1D242}"/>
              </a:ext>
            </a:extLst>
          </p:cNvPr>
          <p:cNvSpPr/>
          <p:nvPr userDrawn="1"/>
        </p:nvSpPr>
        <p:spPr>
          <a:xfrm>
            <a:off x="9453175" y="4869237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9" y="6381"/>
                  <a:pt x="9815" y="7120"/>
                  <a:pt x="9815" y="8363"/>
                </a:cubicBezTo>
                <a:lnTo>
                  <a:pt x="9815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5" y="10800"/>
                </a:lnTo>
                <a:lnTo>
                  <a:pt x="9815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B0F0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19" name="Shape 3916">
            <a:extLst>
              <a:ext uri="{FF2B5EF4-FFF2-40B4-BE49-F238E27FC236}">
                <a16:creationId xmlns:a16="http://schemas.microsoft.com/office/drawing/2014/main" id="{EE7CBBE0-6412-4321-AC05-EFE91FD8CDA6}"/>
              </a:ext>
            </a:extLst>
          </p:cNvPr>
          <p:cNvSpPr/>
          <p:nvPr userDrawn="1"/>
        </p:nvSpPr>
        <p:spPr>
          <a:xfrm>
            <a:off x="9916117" y="4869237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B0F0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8BB08E0B-9D85-4D46-934E-B70778629E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62437" y="5264411"/>
            <a:ext cx="1758268" cy="346971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B09B3D06-15A1-4D5B-ADFD-FDF8B39F495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62438" y="5486109"/>
            <a:ext cx="1758268" cy="327955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7" name="Shape 3906">
            <a:extLst>
              <a:ext uri="{FF2B5EF4-FFF2-40B4-BE49-F238E27FC236}">
                <a16:creationId xmlns:a16="http://schemas.microsoft.com/office/drawing/2014/main" id="{60142136-ED98-44F3-AD52-C85E6845D5BC}"/>
              </a:ext>
            </a:extLst>
          </p:cNvPr>
          <p:cNvSpPr/>
          <p:nvPr userDrawn="1"/>
        </p:nvSpPr>
        <p:spPr>
          <a:xfrm>
            <a:off x="5536405" y="5941790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9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15929" y="7018"/>
                </a:moveTo>
                <a:cubicBezTo>
                  <a:pt x="15539" y="7246"/>
                  <a:pt x="15108" y="7411"/>
                  <a:pt x="14650" y="7500"/>
                </a:cubicBezTo>
                <a:cubicBezTo>
                  <a:pt x="14282" y="7114"/>
                  <a:pt x="13759" y="6874"/>
                  <a:pt x="13180" y="6874"/>
                </a:cubicBezTo>
                <a:cubicBezTo>
                  <a:pt x="12067" y="6874"/>
                  <a:pt x="11165" y="7762"/>
                  <a:pt x="11165" y="8856"/>
                </a:cubicBezTo>
                <a:cubicBezTo>
                  <a:pt x="11165" y="9012"/>
                  <a:pt x="11183" y="9162"/>
                  <a:pt x="11217" y="9308"/>
                </a:cubicBezTo>
                <a:cubicBezTo>
                  <a:pt x="9543" y="9226"/>
                  <a:pt x="8059" y="8436"/>
                  <a:pt x="7065" y="7236"/>
                </a:cubicBezTo>
                <a:cubicBezTo>
                  <a:pt x="6892" y="7530"/>
                  <a:pt x="6793" y="7870"/>
                  <a:pt x="6793" y="8233"/>
                </a:cubicBezTo>
                <a:cubicBezTo>
                  <a:pt x="6793" y="8921"/>
                  <a:pt x="7148" y="9528"/>
                  <a:pt x="7689" y="9883"/>
                </a:cubicBezTo>
                <a:cubicBezTo>
                  <a:pt x="7359" y="9873"/>
                  <a:pt x="7048" y="9784"/>
                  <a:pt x="6777" y="9635"/>
                </a:cubicBezTo>
                <a:cubicBezTo>
                  <a:pt x="6776" y="9644"/>
                  <a:pt x="6776" y="9652"/>
                  <a:pt x="6776" y="9660"/>
                </a:cubicBezTo>
                <a:cubicBezTo>
                  <a:pt x="6776" y="10621"/>
                  <a:pt x="7471" y="11422"/>
                  <a:pt x="8392" y="11604"/>
                </a:cubicBezTo>
                <a:cubicBezTo>
                  <a:pt x="8223" y="11650"/>
                  <a:pt x="8045" y="11673"/>
                  <a:pt x="7861" y="11673"/>
                </a:cubicBezTo>
                <a:cubicBezTo>
                  <a:pt x="7732" y="11673"/>
                  <a:pt x="7606" y="11662"/>
                  <a:pt x="7483" y="11638"/>
                </a:cubicBezTo>
                <a:cubicBezTo>
                  <a:pt x="7739" y="12426"/>
                  <a:pt x="8483" y="12999"/>
                  <a:pt x="9364" y="13015"/>
                </a:cubicBezTo>
                <a:cubicBezTo>
                  <a:pt x="8674" y="13547"/>
                  <a:pt x="7806" y="13863"/>
                  <a:pt x="6862" y="13863"/>
                </a:cubicBezTo>
                <a:cubicBezTo>
                  <a:pt x="6699" y="13863"/>
                  <a:pt x="6539" y="13855"/>
                  <a:pt x="6382" y="13837"/>
                </a:cubicBezTo>
                <a:cubicBezTo>
                  <a:pt x="7274" y="14398"/>
                  <a:pt x="8332" y="14727"/>
                  <a:pt x="9470" y="14727"/>
                </a:cubicBezTo>
                <a:cubicBezTo>
                  <a:pt x="13174" y="14727"/>
                  <a:pt x="15200" y="11706"/>
                  <a:pt x="15200" y="9086"/>
                </a:cubicBezTo>
                <a:cubicBezTo>
                  <a:pt x="15200" y="9000"/>
                  <a:pt x="15199" y="8914"/>
                  <a:pt x="15195" y="8830"/>
                </a:cubicBezTo>
                <a:cubicBezTo>
                  <a:pt x="15588" y="8550"/>
                  <a:pt x="15930" y="8201"/>
                  <a:pt x="16200" y="7804"/>
                </a:cubicBezTo>
                <a:cubicBezTo>
                  <a:pt x="15839" y="7961"/>
                  <a:pt x="15451" y="8067"/>
                  <a:pt x="15044" y="8115"/>
                </a:cubicBezTo>
                <a:cubicBezTo>
                  <a:pt x="15459" y="7870"/>
                  <a:pt x="15778" y="7482"/>
                  <a:pt x="15929" y="7018"/>
                </a:cubicBezTo>
              </a:path>
            </a:pathLst>
          </a:custGeom>
          <a:solidFill>
            <a:srgbClr val="00B0F0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8" name="Shape 3907">
            <a:extLst>
              <a:ext uri="{FF2B5EF4-FFF2-40B4-BE49-F238E27FC236}">
                <a16:creationId xmlns:a16="http://schemas.microsoft.com/office/drawing/2014/main" id="{45F49D2F-282C-48A5-B47A-B423F5EC3D0B}"/>
              </a:ext>
            </a:extLst>
          </p:cNvPr>
          <p:cNvSpPr/>
          <p:nvPr userDrawn="1"/>
        </p:nvSpPr>
        <p:spPr>
          <a:xfrm>
            <a:off x="5999346" y="5941790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76" y="8468"/>
                </a:moveTo>
                <a:cubicBezTo>
                  <a:pt x="11776" y="8071"/>
                  <a:pt x="11817" y="7858"/>
                  <a:pt x="12428" y="7858"/>
                </a:cubicBezTo>
                <a:lnTo>
                  <a:pt x="13245" y="7858"/>
                </a:lnTo>
                <a:lnTo>
                  <a:pt x="13245" y="6381"/>
                </a:lnTo>
                <a:lnTo>
                  <a:pt x="11938" y="6381"/>
                </a:lnTo>
                <a:cubicBezTo>
                  <a:pt x="10369" y="6381"/>
                  <a:pt x="9815" y="7120"/>
                  <a:pt x="9815" y="8363"/>
                </a:cubicBezTo>
                <a:lnTo>
                  <a:pt x="9815" y="9322"/>
                </a:lnTo>
                <a:lnTo>
                  <a:pt x="8837" y="9322"/>
                </a:lnTo>
                <a:lnTo>
                  <a:pt x="8837" y="10800"/>
                </a:lnTo>
                <a:lnTo>
                  <a:pt x="9815" y="10800"/>
                </a:lnTo>
                <a:lnTo>
                  <a:pt x="9815" y="15219"/>
                </a:lnTo>
                <a:lnTo>
                  <a:pt x="11774" y="15219"/>
                </a:lnTo>
                <a:lnTo>
                  <a:pt x="11774" y="10800"/>
                </a:lnTo>
                <a:lnTo>
                  <a:pt x="13081" y="10800"/>
                </a:lnTo>
                <a:lnTo>
                  <a:pt x="13254" y="9322"/>
                </a:lnTo>
                <a:lnTo>
                  <a:pt x="11774" y="9322"/>
                </a:lnTo>
                <a:cubicBezTo>
                  <a:pt x="11774" y="9322"/>
                  <a:pt x="11776" y="8468"/>
                  <a:pt x="11776" y="8468"/>
                </a:cubicBezTo>
                <a:close/>
                <a:moveTo>
                  <a:pt x="20618" y="19636"/>
                </a:moveTo>
                <a:cubicBezTo>
                  <a:pt x="20618" y="20179"/>
                  <a:pt x="20179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9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9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B0F0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29" name="Shape 3916">
            <a:extLst>
              <a:ext uri="{FF2B5EF4-FFF2-40B4-BE49-F238E27FC236}">
                <a16:creationId xmlns:a16="http://schemas.microsoft.com/office/drawing/2014/main" id="{32604A72-64E1-4602-9105-189AF4D50395}"/>
              </a:ext>
            </a:extLst>
          </p:cNvPr>
          <p:cNvSpPr/>
          <p:nvPr userDrawn="1"/>
        </p:nvSpPr>
        <p:spPr>
          <a:xfrm>
            <a:off x="6462288" y="5941790"/>
            <a:ext cx="279033" cy="27903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727" y="13745"/>
                </a:moveTo>
                <a:cubicBezTo>
                  <a:pt x="14727" y="14288"/>
                  <a:pt x="14287" y="14727"/>
                  <a:pt x="13745" y="14727"/>
                </a:cubicBezTo>
                <a:lnTo>
                  <a:pt x="7855" y="14727"/>
                </a:lnTo>
                <a:cubicBezTo>
                  <a:pt x="7313" y="14727"/>
                  <a:pt x="6873" y="14288"/>
                  <a:pt x="6873" y="13745"/>
                </a:cubicBezTo>
                <a:lnTo>
                  <a:pt x="6873" y="10309"/>
                </a:lnTo>
                <a:lnTo>
                  <a:pt x="7904" y="10309"/>
                </a:lnTo>
                <a:cubicBezTo>
                  <a:pt x="7877" y="10470"/>
                  <a:pt x="7855" y="10632"/>
                  <a:pt x="7855" y="10800"/>
                </a:cubicBezTo>
                <a:cubicBezTo>
                  <a:pt x="7855" y="12427"/>
                  <a:pt x="9173" y="13745"/>
                  <a:pt x="10800" y="13745"/>
                </a:cubicBezTo>
                <a:cubicBezTo>
                  <a:pt x="12427" y="13745"/>
                  <a:pt x="13745" y="12427"/>
                  <a:pt x="13745" y="10800"/>
                </a:cubicBezTo>
                <a:cubicBezTo>
                  <a:pt x="13745" y="10632"/>
                  <a:pt x="13723" y="10470"/>
                  <a:pt x="13696" y="10309"/>
                </a:cubicBezTo>
                <a:lnTo>
                  <a:pt x="14727" y="10309"/>
                </a:lnTo>
                <a:cubicBezTo>
                  <a:pt x="14727" y="10309"/>
                  <a:pt x="14727" y="13745"/>
                  <a:pt x="14727" y="13745"/>
                </a:cubicBezTo>
                <a:close/>
                <a:moveTo>
                  <a:pt x="10800" y="8836"/>
                </a:moveTo>
                <a:cubicBezTo>
                  <a:pt x="11884" y="8836"/>
                  <a:pt x="12764" y="9716"/>
                  <a:pt x="12764" y="10800"/>
                </a:cubicBezTo>
                <a:cubicBezTo>
                  <a:pt x="12764" y="11884"/>
                  <a:pt x="11884" y="12764"/>
                  <a:pt x="10800" y="12764"/>
                </a:cubicBezTo>
                <a:cubicBezTo>
                  <a:pt x="9716" y="12764"/>
                  <a:pt x="8836" y="11884"/>
                  <a:pt x="8836" y="10800"/>
                </a:cubicBezTo>
                <a:cubicBezTo>
                  <a:pt x="8836" y="9716"/>
                  <a:pt x="9716" y="8836"/>
                  <a:pt x="10800" y="8836"/>
                </a:cubicBezTo>
                <a:moveTo>
                  <a:pt x="12764" y="7364"/>
                </a:moveTo>
                <a:lnTo>
                  <a:pt x="14236" y="7364"/>
                </a:lnTo>
                <a:lnTo>
                  <a:pt x="14236" y="8836"/>
                </a:lnTo>
                <a:lnTo>
                  <a:pt x="12764" y="8836"/>
                </a:lnTo>
                <a:cubicBezTo>
                  <a:pt x="12764" y="8836"/>
                  <a:pt x="12764" y="7364"/>
                  <a:pt x="12764" y="7364"/>
                </a:cubicBezTo>
                <a:close/>
                <a:moveTo>
                  <a:pt x="13745" y="5891"/>
                </a:moveTo>
                <a:lnTo>
                  <a:pt x="7855" y="5891"/>
                </a:lnTo>
                <a:cubicBezTo>
                  <a:pt x="6770" y="5891"/>
                  <a:pt x="5891" y="6770"/>
                  <a:pt x="5891" y="7855"/>
                </a:cubicBezTo>
                <a:lnTo>
                  <a:pt x="5891" y="13745"/>
                </a:lnTo>
                <a:cubicBezTo>
                  <a:pt x="5891" y="14830"/>
                  <a:pt x="6770" y="15709"/>
                  <a:pt x="7855" y="15709"/>
                </a:cubicBezTo>
                <a:lnTo>
                  <a:pt x="13745" y="15709"/>
                </a:lnTo>
                <a:cubicBezTo>
                  <a:pt x="14830" y="15709"/>
                  <a:pt x="15709" y="14830"/>
                  <a:pt x="15709" y="13745"/>
                </a:cubicBezTo>
                <a:lnTo>
                  <a:pt x="15709" y="7855"/>
                </a:lnTo>
                <a:cubicBezTo>
                  <a:pt x="15709" y="6770"/>
                  <a:pt x="14830" y="5891"/>
                  <a:pt x="13745" y="5891"/>
                </a:cubicBezTo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00B0F0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F283F5E8-1347-43F1-8DE7-8D1D2D1ADD8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406419" y="450189"/>
            <a:ext cx="3379162" cy="609001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ECEA5D8F-6451-4509-A027-88A37419F9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99645" y="1075140"/>
            <a:ext cx="3385936" cy="960431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200">
                <a:solidFill>
                  <a:schemeClr val="accent6">
                    <a:lumMod val="90000"/>
                    <a:lumOff val="1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45369EEA-5FD8-4E78-8F3E-3BF7D6735B6B}"/>
              </a:ext>
            </a:extLst>
          </p:cNvPr>
          <p:cNvSpPr/>
          <p:nvPr userDrawn="1"/>
        </p:nvSpPr>
        <p:spPr>
          <a:xfrm>
            <a:off x="2865120" y="-1824556"/>
            <a:ext cx="6461760" cy="6461760"/>
          </a:xfrm>
          <a:prstGeom prst="ellipse">
            <a:avLst/>
          </a:pr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DF6FACC4-BC80-4E3E-9E4F-B8BD6EA4FD78}"/>
              </a:ext>
            </a:extLst>
          </p:cNvPr>
          <p:cNvSpPr/>
          <p:nvPr userDrawn="1"/>
        </p:nvSpPr>
        <p:spPr>
          <a:xfrm>
            <a:off x="-1524628" y="-383709"/>
            <a:ext cx="3580066" cy="3580066"/>
          </a:xfrm>
          <a:prstGeom prst="ellipse">
            <a:avLst/>
          </a:pr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A42009E2-3F1F-4933-97C3-2B63AFBFA12D}"/>
              </a:ext>
            </a:extLst>
          </p:cNvPr>
          <p:cNvSpPr/>
          <p:nvPr userDrawn="1"/>
        </p:nvSpPr>
        <p:spPr>
          <a:xfrm>
            <a:off x="10131282" y="-383709"/>
            <a:ext cx="3580066" cy="3580066"/>
          </a:xfrm>
          <a:prstGeom prst="ellipse">
            <a:avLst/>
          </a:pr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8142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FE150784-00B7-4B8E-BA2D-7173B4CA98F5}"/>
              </a:ext>
            </a:extLst>
          </p:cNvPr>
          <p:cNvSpPr/>
          <p:nvPr userDrawn="1"/>
        </p:nvSpPr>
        <p:spPr>
          <a:xfrm>
            <a:off x="5639386" y="1234440"/>
            <a:ext cx="9006840" cy="9006840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2246" y="6424225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B8FC6B6-FC13-4781-98CF-A9DE526BC18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51960" y="0"/>
            <a:ext cx="5532120" cy="4366260"/>
          </a:xfr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D7455D56-34F4-4202-B738-011CCD216D6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2248" y="3063240"/>
            <a:ext cx="3340986" cy="105156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ABD71736-04D3-4923-AD5E-FDFC9C0C14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2247" y="4114800"/>
            <a:ext cx="3340987" cy="205485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6A29F318-5527-410E-A692-01F353484E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2246" y="708660"/>
            <a:ext cx="3340986" cy="342900"/>
          </a:xfrm>
        </p:spPr>
        <p:txBody>
          <a:bodyPr>
            <a:normAutofit/>
          </a:bodyPr>
          <a:lstStyle>
            <a:lvl1pPr marL="0" indent="0">
              <a:buNone/>
              <a:defRPr sz="1100" spc="3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1787467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35DAEE7-E9FB-424F-8928-551CBF063952}"/>
              </a:ext>
            </a:extLst>
          </p:cNvPr>
          <p:cNvSpPr/>
          <p:nvPr userDrawn="1"/>
        </p:nvSpPr>
        <p:spPr>
          <a:xfrm>
            <a:off x="0" y="-1"/>
            <a:ext cx="5427406" cy="68580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1890" y="6382238"/>
            <a:ext cx="1934894" cy="347464"/>
          </a:xfrm>
        </p:spPr>
        <p:txBody>
          <a:bodyPr/>
          <a:lstStyle>
            <a:lvl1pPr algn="l">
              <a:defRPr spc="3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759453-708B-42A9-A703-F259600D58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846439" y="-1400801"/>
            <a:ext cx="2580967" cy="5160145"/>
          </a:xfrm>
          <a:custGeom>
            <a:avLst/>
            <a:gdLst>
              <a:gd name="connsiteX0" fmla="*/ 1725407 w 1725407"/>
              <a:gd name="connsiteY0" fmla="*/ 0 h 3449618"/>
              <a:gd name="connsiteX1" fmla="*/ 1725407 w 1725407"/>
              <a:gd name="connsiteY1" fmla="*/ 3449618 h 3449618"/>
              <a:gd name="connsiteX2" fmla="*/ 1549179 w 1725407"/>
              <a:gd name="connsiteY2" fmla="*/ 3440723 h 3449618"/>
              <a:gd name="connsiteX3" fmla="*/ 0 w 1725407"/>
              <a:gd name="connsiteY3" fmla="*/ 1724809 h 3449618"/>
              <a:gd name="connsiteX4" fmla="*/ 1549179 w 1725407"/>
              <a:gd name="connsiteY4" fmla="*/ 8895 h 3449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25407" h="3449618">
                <a:moveTo>
                  <a:pt x="1725407" y="0"/>
                </a:moveTo>
                <a:lnTo>
                  <a:pt x="1725407" y="3449618"/>
                </a:lnTo>
                <a:lnTo>
                  <a:pt x="1549179" y="3440723"/>
                </a:lnTo>
                <a:cubicBezTo>
                  <a:pt x="679028" y="3352395"/>
                  <a:pt x="0" y="2617863"/>
                  <a:pt x="0" y="1724809"/>
                </a:cubicBezTo>
                <a:cubicBezTo>
                  <a:pt x="0" y="831755"/>
                  <a:pt x="679028" y="97223"/>
                  <a:pt x="1549179" y="8895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2C7850A-6F48-4B77-B49C-821AB494A3B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19136" y="-191730"/>
            <a:ext cx="2536722" cy="5029703"/>
          </a:xfrm>
          <a:custGeom>
            <a:avLst/>
            <a:gdLst>
              <a:gd name="connsiteX0" fmla="*/ 14365 w 1666159"/>
              <a:gd name="connsiteY0" fmla="*/ 0 h 3303588"/>
              <a:gd name="connsiteX1" fmla="*/ 1666159 w 1666159"/>
              <a:gd name="connsiteY1" fmla="*/ 1651794 h 3303588"/>
              <a:gd name="connsiteX2" fmla="*/ 14365 w 1666159"/>
              <a:gd name="connsiteY2" fmla="*/ 3303588 h 3303588"/>
              <a:gd name="connsiteX3" fmla="*/ 0 w 1666159"/>
              <a:gd name="connsiteY3" fmla="*/ 3302863 h 3303588"/>
              <a:gd name="connsiteX4" fmla="*/ 0 w 1666159"/>
              <a:gd name="connsiteY4" fmla="*/ 726 h 3303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66159" h="3303588">
                <a:moveTo>
                  <a:pt x="14365" y="0"/>
                </a:moveTo>
                <a:cubicBezTo>
                  <a:pt x="926626" y="0"/>
                  <a:pt x="1666159" y="739533"/>
                  <a:pt x="1666159" y="1651794"/>
                </a:cubicBezTo>
                <a:cubicBezTo>
                  <a:pt x="1666159" y="2564055"/>
                  <a:pt x="926626" y="3303588"/>
                  <a:pt x="14365" y="3303588"/>
                </a:cubicBezTo>
                <a:lnTo>
                  <a:pt x="0" y="3302863"/>
                </a:lnTo>
                <a:lnTo>
                  <a:pt x="0" y="726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9609BC8-8AD3-45E3-8579-76F0B9453E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0738" y="4061676"/>
            <a:ext cx="3340986" cy="105156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4995564B-5C66-46F4-B54C-406ECEE8FB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60542" y="3589020"/>
            <a:ext cx="2791711" cy="205485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79D50B31-6600-496A-9ED4-BCCFDD47AA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60542" y="3059182"/>
            <a:ext cx="2791711" cy="397201"/>
          </a:xfrm>
        </p:spPr>
        <p:txBody>
          <a:bodyPr>
            <a:normAutofit/>
          </a:bodyPr>
          <a:lstStyle>
            <a:lvl1pPr marL="0" indent="0">
              <a:buNone/>
              <a:defRPr sz="1400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6324685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Picture Placeholder 235">
            <a:extLst>
              <a:ext uri="{FF2B5EF4-FFF2-40B4-BE49-F238E27FC236}">
                <a16:creationId xmlns:a16="http://schemas.microsoft.com/office/drawing/2014/main" id="{319AF6D8-EFF3-4701-88C3-F0893D21B7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73699" y="0"/>
            <a:ext cx="5118303" cy="6905558"/>
          </a:xfrm>
          <a:custGeom>
            <a:avLst/>
            <a:gdLst>
              <a:gd name="connsiteX0" fmla="*/ 4165274 w 5118303"/>
              <a:gd name="connsiteY0" fmla="*/ 6063894 h 6905558"/>
              <a:gd name="connsiteX1" fmla="*/ 4485115 w 5118303"/>
              <a:gd name="connsiteY1" fmla="*/ 6382362 h 6905558"/>
              <a:gd name="connsiteX2" fmla="*/ 4486738 w 5118303"/>
              <a:gd name="connsiteY2" fmla="*/ 6416483 h 6905558"/>
              <a:gd name="connsiteX3" fmla="*/ 4486738 w 5118303"/>
              <a:gd name="connsiteY3" fmla="*/ 6422982 h 6905558"/>
              <a:gd name="connsiteX4" fmla="*/ 4488362 w 5118303"/>
              <a:gd name="connsiteY4" fmla="*/ 6427857 h 6905558"/>
              <a:gd name="connsiteX5" fmla="*/ 4488362 w 5118303"/>
              <a:gd name="connsiteY5" fmla="*/ 6429481 h 6905558"/>
              <a:gd name="connsiteX6" fmla="*/ 4493232 w 5118303"/>
              <a:gd name="connsiteY6" fmla="*/ 6455479 h 6905558"/>
              <a:gd name="connsiteX7" fmla="*/ 4493232 w 5118303"/>
              <a:gd name="connsiteY7" fmla="*/ 6458729 h 6905558"/>
              <a:gd name="connsiteX8" fmla="*/ 4493232 w 5118303"/>
              <a:gd name="connsiteY8" fmla="*/ 6460354 h 6905558"/>
              <a:gd name="connsiteX9" fmla="*/ 4803334 w 5118303"/>
              <a:gd name="connsiteY9" fmla="*/ 6702454 h 6905558"/>
              <a:gd name="connsiteX10" fmla="*/ 5113434 w 5118303"/>
              <a:gd name="connsiteY10" fmla="*/ 6453855 h 6905558"/>
              <a:gd name="connsiteX11" fmla="*/ 5115058 w 5118303"/>
              <a:gd name="connsiteY11" fmla="*/ 6452229 h 6905558"/>
              <a:gd name="connsiteX12" fmla="*/ 5115058 w 5118303"/>
              <a:gd name="connsiteY12" fmla="*/ 6450605 h 6905558"/>
              <a:gd name="connsiteX13" fmla="*/ 5115058 w 5118303"/>
              <a:gd name="connsiteY13" fmla="*/ 6445730 h 6905558"/>
              <a:gd name="connsiteX14" fmla="*/ 5115058 w 5118303"/>
              <a:gd name="connsiteY14" fmla="*/ 6444106 h 6905558"/>
              <a:gd name="connsiteX15" fmla="*/ 5116682 w 5118303"/>
              <a:gd name="connsiteY15" fmla="*/ 6437606 h 6905558"/>
              <a:gd name="connsiteX16" fmla="*/ 5118303 w 5118303"/>
              <a:gd name="connsiteY16" fmla="*/ 6434361 h 6905558"/>
              <a:gd name="connsiteX17" fmla="*/ 5118303 w 5118303"/>
              <a:gd name="connsiteY17" fmla="*/ 6905558 h 6905558"/>
              <a:gd name="connsiteX18" fmla="*/ 2594410 w 5118303"/>
              <a:gd name="connsiteY18" fmla="*/ 6905558 h 6905558"/>
              <a:gd name="connsiteX19" fmla="*/ 2596252 w 5118303"/>
              <a:gd name="connsiteY19" fmla="*/ 6899415 h 6905558"/>
              <a:gd name="connsiteX20" fmla="*/ 2876164 w 5118303"/>
              <a:gd name="connsiteY20" fmla="*/ 6702454 h 6905558"/>
              <a:gd name="connsiteX21" fmla="*/ 2890776 w 5118303"/>
              <a:gd name="connsiteY21" fmla="*/ 6702454 h 6905558"/>
              <a:gd name="connsiteX22" fmla="*/ 3191134 w 5118303"/>
              <a:gd name="connsiteY22" fmla="*/ 6489601 h 6905558"/>
              <a:gd name="connsiteX23" fmla="*/ 3192759 w 5118303"/>
              <a:gd name="connsiteY23" fmla="*/ 6483102 h 6905558"/>
              <a:gd name="connsiteX24" fmla="*/ 3194382 w 5118303"/>
              <a:gd name="connsiteY24" fmla="*/ 6479852 h 6905558"/>
              <a:gd name="connsiteX25" fmla="*/ 3196006 w 5118303"/>
              <a:gd name="connsiteY25" fmla="*/ 6474977 h 6905558"/>
              <a:gd name="connsiteX26" fmla="*/ 3196006 w 5118303"/>
              <a:gd name="connsiteY26" fmla="*/ 6473353 h 6905558"/>
              <a:gd name="connsiteX27" fmla="*/ 3199253 w 5118303"/>
              <a:gd name="connsiteY27" fmla="*/ 6458729 h 6905558"/>
              <a:gd name="connsiteX28" fmla="*/ 3200876 w 5118303"/>
              <a:gd name="connsiteY28" fmla="*/ 6458729 h 6905558"/>
              <a:gd name="connsiteX29" fmla="*/ 3202500 w 5118303"/>
              <a:gd name="connsiteY29" fmla="*/ 6450605 h 6905558"/>
              <a:gd name="connsiteX30" fmla="*/ 3202500 w 5118303"/>
              <a:gd name="connsiteY30" fmla="*/ 6447355 h 6905558"/>
              <a:gd name="connsiteX31" fmla="*/ 3202500 w 5118303"/>
              <a:gd name="connsiteY31" fmla="*/ 6445730 h 6905558"/>
              <a:gd name="connsiteX32" fmla="*/ 3202500 w 5118303"/>
              <a:gd name="connsiteY32" fmla="*/ 6444106 h 6905558"/>
              <a:gd name="connsiteX33" fmla="*/ 3204124 w 5118303"/>
              <a:gd name="connsiteY33" fmla="*/ 6437606 h 6905558"/>
              <a:gd name="connsiteX34" fmla="*/ 3205747 w 5118303"/>
              <a:gd name="connsiteY34" fmla="*/ 6434356 h 6905558"/>
              <a:gd name="connsiteX35" fmla="*/ 3205747 w 5118303"/>
              <a:gd name="connsiteY35" fmla="*/ 6429481 h 6905558"/>
              <a:gd name="connsiteX36" fmla="*/ 3205747 w 5118303"/>
              <a:gd name="connsiteY36" fmla="*/ 6427857 h 6905558"/>
              <a:gd name="connsiteX37" fmla="*/ 3207370 w 5118303"/>
              <a:gd name="connsiteY37" fmla="*/ 6422982 h 6905558"/>
              <a:gd name="connsiteX38" fmla="*/ 3207370 w 5118303"/>
              <a:gd name="connsiteY38" fmla="*/ 6416483 h 6905558"/>
              <a:gd name="connsiteX39" fmla="*/ 3208994 w 5118303"/>
              <a:gd name="connsiteY39" fmla="*/ 6382362 h 6905558"/>
              <a:gd name="connsiteX40" fmla="*/ 3210618 w 5118303"/>
              <a:gd name="connsiteY40" fmla="*/ 6416483 h 6905558"/>
              <a:gd name="connsiteX41" fmla="*/ 3212242 w 5118303"/>
              <a:gd name="connsiteY41" fmla="*/ 6422982 h 6905558"/>
              <a:gd name="connsiteX42" fmla="*/ 3212242 w 5118303"/>
              <a:gd name="connsiteY42" fmla="*/ 6427857 h 6905558"/>
              <a:gd name="connsiteX43" fmla="*/ 3212242 w 5118303"/>
              <a:gd name="connsiteY43" fmla="*/ 6429481 h 6905558"/>
              <a:gd name="connsiteX44" fmla="*/ 3218736 w 5118303"/>
              <a:gd name="connsiteY44" fmla="*/ 6457104 h 6905558"/>
              <a:gd name="connsiteX45" fmla="*/ 3218736 w 5118303"/>
              <a:gd name="connsiteY45" fmla="*/ 6458729 h 6905558"/>
              <a:gd name="connsiteX46" fmla="*/ 3528836 w 5118303"/>
              <a:gd name="connsiteY46" fmla="*/ 6702454 h 6905558"/>
              <a:gd name="connsiteX47" fmla="*/ 3830819 w 5118303"/>
              <a:gd name="connsiteY47" fmla="*/ 6484726 h 6905558"/>
              <a:gd name="connsiteX48" fmla="*/ 3830819 w 5118303"/>
              <a:gd name="connsiteY48" fmla="*/ 6483102 h 6905558"/>
              <a:gd name="connsiteX49" fmla="*/ 3834066 w 5118303"/>
              <a:gd name="connsiteY49" fmla="*/ 6471727 h 6905558"/>
              <a:gd name="connsiteX50" fmla="*/ 3834066 w 5118303"/>
              <a:gd name="connsiteY50" fmla="*/ 6468478 h 6905558"/>
              <a:gd name="connsiteX51" fmla="*/ 3837313 w 5118303"/>
              <a:gd name="connsiteY51" fmla="*/ 6458729 h 6905558"/>
              <a:gd name="connsiteX52" fmla="*/ 3838936 w 5118303"/>
              <a:gd name="connsiteY52" fmla="*/ 6453855 h 6905558"/>
              <a:gd name="connsiteX53" fmla="*/ 3840560 w 5118303"/>
              <a:gd name="connsiteY53" fmla="*/ 6445730 h 6905558"/>
              <a:gd name="connsiteX54" fmla="*/ 3840560 w 5118303"/>
              <a:gd name="connsiteY54" fmla="*/ 6444106 h 6905558"/>
              <a:gd name="connsiteX55" fmla="*/ 3842184 w 5118303"/>
              <a:gd name="connsiteY55" fmla="*/ 6437606 h 6905558"/>
              <a:gd name="connsiteX56" fmla="*/ 3842184 w 5118303"/>
              <a:gd name="connsiteY56" fmla="*/ 6434356 h 6905558"/>
              <a:gd name="connsiteX57" fmla="*/ 3843808 w 5118303"/>
              <a:gd name="connsiteY57" fmla="*/ 6429481 h 6905558"/>
              <a:gd name="connsiteX58" fmla="*/ 3843808 w 5118303"/>
              <a:gd name="connsiteY58" fmla="*/ 6427857 h 6905558"/>
              <a:gd name="connsiteX59" fmla="*/ 3843808 w 5118303"/>
              <a:gd name="connsiteY59" fmla="*/ 6422982 h 6905558"/>
              <a:gd name="connsiteX60" fmla="*/ 3845430 w 5118303"/>
              <a:gd name="connsiteY60" fmla="*/ 6416483 h 6905558"/>
              <a:gd name="connsiteX61" fmla="*/ 3847055 w 5118303"/>
              <a:gd name="connsiteY61" fmla="*/ 6382362 h 6905558"/>
              <a:gd name="connsiteX62" fmla="*/ 4165274 w 5118303"/>
              <a:gd name="connsiteY62" fmla="*/ 6063894 h 6905558"/>
              <a:gd name="connsiteX63" fmla="*/ 1615155 w 5118303"/>
              <a:gd name="connsiteY63" fmla="*/ 6063894 h 6905558"/>
              <a:gd name="connsiteX64" fmla="*/ 1679758 w 5118303"/>
              <a:gd name="connsiteY64" fmla="*/ 6070314 h 6905558"/>
              <a:gd name="connsiteX65" fmla="*/ 1935248 w 5118303"/>
              <a:gd name="connsiteY65" fmla="*/ 6382362 h 6905558"/>
              <a:gd name="connsiteX66" fmla="*/ 2189649 w 5118303"/>
              <a:gd name="connsiteY66" fmla="*/ 6070314 h 6905558"/>
              <a:gd name="connsiteX67" fmla="*/ 2253217 w 5118303"/>
              <a:gd name="connsiteY67" fmla="*/ 6063944 h 6905558"/>
              <a:gd name="connsiteX68" fmla="*/ 2317198 w 5118303"/>
              <a:gd name="connsiteY68" fmla="*/ 6070314 h 6905558"/>
              <a:gd name="connsiteX69" fmla="*/ 2570934 w 5118303"/>
              <a:gd name="connsiteY69" fmla="*/ 6382362 h 6905558"/>
              <a:gd name="connsiteX70" fmla="*/ 2252716 w 5118303"/>
              <a:gd name="connsiteY70" fmla="*/ 6700830 h 6905558"/>
              <a:gd name="connsiteX71" fmla="*/ 2547469 w 5118303"/>
              <a:gd name="connsiteY71" fmla="*/ 6896191 h 6905558"/>
              <a:gd name="connsiteX72" fmla="*/ 2550367 w 5118303"/>
              <a:gd name="connsiteY72" fmla="*/ 6905558 h 6905558"/>
              <a:gd name="connsiteX73" fmla="*/ 681476 w 5118303"/>
              <a:gd name="connsiteY73" fmla="*/ 6905558 h 6905558"/>
              <a:gd name="connsiteX74" fmla="*/ 686425 w 5118303"/>
              <a:gd name="connsiteY74" fmla="*/ 6890708 h 6905558"/>
              <a:gd name="connsiteX75" fmla="*/ 978683 w 5118303"/>
              <a:gd name="connsiteY75" fmla="*/ 6700830 h 6905558"/>
              <a:gd name="connsiteX76" fmla="*/ 1296919 w 5118303"/>
              <a:gd name="connsiteY76" fmla="*/ 6382362 h 6905558"/>
              <a:gd name="connsiteX77" fmla="*/ 1551135 w 5118303"/>
              <a:gd name="connsiteY77" fmla="*/ 6070314 h 6905558"/>
              <a:gd name="connsiteX78" fmla="*/ 3527212 w 5118303"/>
              <a:gd name="connsiteY78" fmla="*/ 5425332 h 6905558"/>
              <a:gd name="connsiteX79" fmla="*/ 3847055 w 5118303"/>
              <a:gd name="connsiteY79" fmla="*/ 5743800 h 6905558"/>
              <a:gd name="connsiteX80" fmla="*/ 3527212 w 5118303"/>
              <a:gd name="connsiteY80" fmla="*/ 6063894 h 6905558"/>
              <a:gd name="connsiteX81" fmla="*/ 3208994 w 5118303"/>
              <a:gd name="connsiteY81" fmla="*/ 5743800 h 6905558"/>
              <a:gd name="connsiteX82" fmla="*/ 3527212 w 5118303"/>
              <a:gd name="connsiteY82" fmla="*/ 5425332 h 6905558"/>
              <a:gd name="connsiteX83" fmla="*/ 3886122 w 5118303"/>
              <a:gd name="connsiteY83" fmla="*/ 4953237 h 6905558"/>
              <a:gd name="connsiteX84" fmla="*/ 3855172 w 5118303"/>
              <a:gd name="connsiteY84" fmla="*/ 5032121 h 6905558"/>
              <a:gd name="connsiteX85" fmla="*/ 3871628 w 5118303"/>
              <a:gd name="connsiteY85" fmla="*/ 4980993 h 6905558"/>
              <a:gd name="connsiteX86" fmla="*/ 3892380 w 5118303"/>
              <a:gd name="connsiteY86" fmla="*/ 4941258 h 6905558"/>
              <a:gd name="connsiteX87" fmla="*/ 3886122 w 5118303"/>
              <a:gd name="connsiteY87" fmla="*/ 4953237 h 6905558"/>
              <a:gd name="connsiteX88" fmla="*/ 3889270 w 5118303"/>
              <a:gd name="connsiteY88" fmla="*/ 4945217 h 6905558"/>
              <a:gd name="connsiteX89" fmla="*/ 80164 w 5118303"/>
              <a:gd name="connsiteY89" fmla="*/ 4921172 h 6905558"/>
              <a:gd name="connsiteX90" fmla="*/ 43379 w 5118303"/>
              <a:gd name="connsiteY90" fmla="*/ 4996274 h 6905558"/>
              <a:gd name="connsiteX91" fmla="*/ 43030 w 5118303"/>
              <a:gd name="connsiteY91" fmla="*/ 4994023 h 6905558"/>
              <a:gd name="connsiteX92" fmla="*/ 55337 w 5118303"/>
              <a:gd name="connsiteY92" fmla="*/ 4962886 h 6905558"/>
              <a:gd name="connsiteX93" fmla="*/ 80721 w 5118303"/>
              <a:gd name="connsiteY93" fmla="*/ 4920235 h 6905558"/>
              <a:gd name="connsiteX94" fmla="*/ 80164 w 5118303"/>
              <a:gd name="connsiteY94" fmla="*/ 4921172 h 6905558"/>
              <a:gd name="connsiteX95" fmla="*/ 80523 w 5118303"/>
              <a:gd name="connsiteY95" fmla="*/ 4920439 h 6905558"/>
              <a:gd name="connsiteX96" fmla="*/ 3911160 w 5118303"/>
              <a:gd name="connsiteY96" fmla="*/ 4917344 h 6905558"/>
              <a:gd name="connsiteX97" fmla="*/ 3892380 w 5118303"/>
              <a:gd name="connsiteY97" fmla="*/ 4941258 h 6905558"/>
              <a:gd name="connsiteX98" fmla="*/ 3896092 w 5118303"/>
              <a:gd name="connsiteY98" fmla="*/ 4934149 h 6905558"/>
              <a:gd name="connsiteX99" fmla="*/ 3959594 w 5118303"/>
              <a:gd name="connsiteY99" fmla="*/ 4863332 h 6905558"/>
              <a:gd name="connsiteX100" fmla="*/ 3911160 w 5118303"/>
              <a:gd name="connsiteY100" fmla="*/ 4917344 h 6905558"/>
              <a:gd name="connsiteX101" fmla="*/ 3946018 w 5118303"/>
              <a:gd name="connsiteY101" fmla="*/ 4872962 h 6905558"/>
              <a:gd name="connsiteX102" fmla="*/ 3982262 w 5118303"/>
              <a:gd name="connsiteY102" fmla="*/ 4847251 h 6905558"/>
              <a:gd name="connsiteX103" fmla="*/ 3959594 w 5118303"/>
              <a:gd name="connsiteY103" fmla="*/ 4863332 h 6905558"/>
              <a:gd name="connsiteX104" fmla="*/ 3965778 w 5118303"/>
              <a:gd name="connsiteY104" fmla="*/ 4856435 h 6905558"/>
              <a:gd name="connsiteX105" fmla="*/ 4047608 w 5118303"/>
              <a:gd name="connsiteY105" fmla="*/ 4810844 h 6905558"/>
              <a:gd name="connsiteX106" fmla="*/ 3982262 w 5118303"/>
              <a:gd name="connsiteY106" fmla="*/ 4847251 h 6905558"/>
              <a:gd name="connsiteX107" fmla="*/ 4021033 w 5118303"/>
              <a:gd name="connsiteY107" fmla="*/ 4819748 h 6905558"/>
              <a:gd name="connsiteX108" fmla="*/ 4088522 w 5118303"/>
              <a:gd name="connsiteY108" fmla="*/ 4797134 h 6905558"/>
              <a:gd name="connsiteX109" fmla="*/ 4047608 w 5118303"/>
              <a:gd name="connsiteY109" fmla="*/ 4810844 h 6905558"/>
              <a:gd name="connsiteX110" fmla="*/ 4057687 w 5118303"/>
              <a:gd name="connsiteY110" fmla="*/ 4805228 h 6905558"/>
              <a:gd name="connsiteX111" fmla="*/ 4801710 w 5118303"/>
              <a:gd name="connsiteY111" fmla="*/ 4786771 h 6905558"/>
              <a:gd name="connsiteX112" fmla="*/ 5107765 w 5118303"/>
              <a:gd name="connsiteY112" fmla="*/ 5014270 h 6905558"/>
              <a:gd name="connsiteX113" fmla="*/ 5118303 w 5118303"/>
              <a:gd name="connsiteY113" fmla="*/ 5072732 h 6905558"/>
              <a:gd name="connsiteX114" fmla="*/ 5118303 w 5118303"/>
              <a:gd name="connsiteY114" fmla="*/ 5776308 h 6905558"/>
              <a:gd name="connsiteX115" fmla="*/ 5107765 w 5118303"/>
              <a:gd name="connsiteY115" fmla="*/ 5834839 h 6905558"/>
              <a:gd name="connsiteX116" fmla="*/ 4801710 w 5118303"/>
              <a:gd name="connsiteY116" fmla="*/ 6063894 h 6905558"/>
              <a:gd name="connsiteX117" fmla="*/ 4483492 w 5118303"/>
              <a:gd name="connsiteY117" fmla="*/ 5743800 h 6905558"/>
              <a:gd name="connsiteX118" fmla="*/ 4803334 w 5118303"/>
              <a:gd name="connsiteY118" fmla="*/ 5425332 h 6905558"/>
              <a:gd name="connsiteX119" fmla="*/ 4483492 w 5118303"/>
              <a:gd name="connsiteY119" fmla="*/ 5114989 h 6905558"/>
              <a:gd name="connsiteX120" fmla="*/ 4481868 w 5118303"/>
              <a:gd name="connsiteY120" fmla="*/ 5106864 h 6905558"/>
              <a:gd name="connsiteX121" fmla="*/ 4481868 w 5118303"/>
              <a:gd name="connsiteY121" fmla="*/ 5105240 h 6905558"/>
              <a:gd name="connsiteX122" fmla="*/ 4483492 w 5118303"/>
              <a:gd name="connsiteY122" fmla="*/ 5105240 h 6905558"/>
              <a:gd name="connsiteX123" fmla="*/ 4483492 w 5118303"/>
              <a:gd name="connsiteY123" fmla="*/ 5100365 h 6905558"/>
              <a:gd name="connsiteX124" fmla="*/ 4801710 w 5118303"/>
              <a:gd name="connsiteY124" fmla="*/ 4786771 h 6905558"/>
              <a:gd name="connsiteX125" fmla="*/ 334467 w 5118303"/>
              <a:gd name="connsiteY125" fmla="*/ 4786163 h 6905558"/>
              <a:gd name="connsiteX126" fmla="*/ 340450 w 5118303"/>
              <a:gd name="connsiteY126" fmla="*/ 4786757 h 6905558"/>
              <a:gd name="connsiteX127" fmla="*/ 340308 w 5118303"/>
              <a:gd name="connsiteY127" fmla="*/ 4786772 h 6905558"/>
              <a:gd name="connsiteX128" fmla="*/ 340478 w 5118303"/>
              <a:gd name="connsiteY128" fmla="*/ 4786789 h 6905558"/>
              <a:gd name="connsiteX129" fmla="*/ 237662 w 5118303"/>
              <a:gd name="connsiteY129" fmla="*/ 4803502 h 6905558"/>
              <a:gd name="connsiteX130" fmla="*/ 149198 w 5118303"/>
              <a:gd name="connsiteY130" fmla="*/ 4849937 h 6905558"/>
              <a:gd name="connsiteX131" fmla="*/ 80721 w 5118303"/>
              <a:gd name="connsiteY131" fmla="*/ 4920235 h 6905558"/>
              <a:gd name="connsiteX132" fmla="*/ 80751 w 5118303"/>
              <a:gd name="connsiteY132" fmla="*/ 4920185 h 6905558"/>
              <a:gd name="connsiteX133" fmla="*/ 238346 w 5118303"/>
              <a:gd name="connsiteY133" fmla="*/ 4802132 h 6905558"/>
              <a:gd name="connsiteX134" fmla="*/ 4156648 w 5118303"/>
              <a:gd name="connsiteY134" fmla="*/ 4785896 h 6905558"/>
              <a:gd name="connsiteX135" fmla="*/ 4165274 w 5118303"/>
              <a:gd name="connsiteY135" fmla="*/ 4786771 h 6905558"/>
              <a:gd name="connsiteX136" fmla="*/ 4109930 w 5118303"/>
              <a:gd name="connsiteY136" fmla="*/ 4791516 h 6905558"/>
              <a:gd name="connsiteX137" fmla="*/ 4088522 w 5118303"/>
              <a:gd name="connsiteY137" fmla="*/ 4797134 h 6905558"/>
              <a:gd name="connsiteX138" fmla="*/ 4109930 w 5118303"/>
              <a:gd name="connsiteY138" fmla="*/ 4789961 h 6905558"/>
              <a:gd name="connsiteX139" fmla="*/ 1296686 w 5118303"/>
              <a:gd name="connsiteY139" fmla="*/ 4468302 h 6905558"/>
              <a:gd name="connsiteX140" fmla="*/ 978218 w 5118303"/>
              <a:gd name="connsiteY140" fmla="*/ 4786771 h 6905558"/>
              <a:gd name="connsiteX141" fmla="*/ 1296686 w 5118303"/>
              <a:gd name="connsiteY141" fmla="*/ 5105239 h 6905558"/>
              <a:gd name="connsiteX142" fmla="*/ 1615154 w 5118303"/>
              <a:gd name="connsiteY142" fmla="*/ 4786771 h 6905558"/>
              <a:gd name="connsiteX143" fmla="*/ 1934840 w 5118303"/>
              <a:gd name="connsiteY143" fmla="*/ 5105239 h 6905558"/>
              <a:gd name="connsiteX144" fmla="*/ 1934840 w 5118303"/>
              <a:gd name="connsiteY144" fmla="*/ 5106864 h 6905558"/>
              <a:gd name="connsiteX145" fmla="*/ 1616777 w 5118303"/>
              <a:gd name="connsiteY145" fmla="*/ 5425332 h 6905558"/>
              <a:gd name="connsiteX146" fmla="*/ 1934840 w 5118303"/>
              <a:gd name="connsiteY146" fmla="*/ 5743800 h 6905558"/>
              <a:gd name="connsiteX147" fmla="*/ 2252903 w 5118303"/>
              <a:gd name="connsiteY147" fmla="*/ 5425332 h 6905558"/>
              <a:gd name="connsiteX148" fmla="*/ 2570966 w 5118303"/>
              <a:gd name="connsiteY148" fmla="*/ 5743800 h 6905558"/>
              <a:gd name="connsiteX149" fmla="*/ 2890652 w 5118303"/>
              <a:gd name="connsiteY149" fmla="*/ 5425332 h 6905558"/>
              <a:gd name="connsiteX150" fmla="*/ 2570966 w 5118303"/>
              <a:gd name="connsiteY150" fmla="*/ 5105239 h 6905558"/>
              <a:gd name="connsiteX151" fmla="*/ 2890652 w 5118303"/>
              <a:gd name="connsiteY151" fmla="*/ 4786771 h 6905558"/>
              <a:gd name="connsiteX152" fmla="*/ 2570966 w 5118303"/>
              <a:gd name="connsiteY152" fmla="*/ 4468302 h 6905558"/>
              <a:gd name="connsiteX153" fmla="*/ 2252903 w 5118303"/>
              <a:gd name="connsiteY153" fmla="*/ 4786771 h 6905558"/>
              <a:gd name="connsiteX154" fmla="*/ 1934840 w 5118303"/>
              <a:gd name="connsiteY154" fmla="*/ 4468302 h 6905558"/>
              <a:gd name="connsiteX155" fmla="*/ 1615154 w 5118303"/>
              <a:gd name="connsiteY155" fmla="*/ 4786771 h 6905558"/>
              <a:gd name="connsiteX156" fmla="*/ 1296686 w 5118303"/>
              <a:gd name="connsiteY156" fmla="*/ 4468302 h 6905558"/>
              <a:gd name="connsiteX157" fmla="*/ 340448 w 5118303"/>
              <a:gd name="connsiteY157" fmla="*/ 4148224 h 6905558"/>
              <a:gd name="connsiteX158" fmla="*/ 404310 w 5118303"/>
              <a:gd name="connsiteY158" fmla="*/ 4154700 h 6905558"/>
              <a:gd name="connsiteX159" fmla="*/ 658452 w 5118303"/>
              <a:gd name="connsiteY159" fmla="*/ 4468304 h 6905558"/>
              <a:gd name="connsiteX160" fmla="*/ 404776 w 5118303"/>
              <a:gd name="connsiteY160" fmla="*/ 4780286 h 6905558"/>
              <a:gd name="connsiteX161" fmla="*/ 340586 w 5118303"/>
              <a:gd name="connsiteY161" fmla="*/ 4786744 h 6905558"/>
              <a:gd name="connsiteX162" fmla="*/ 340586 w 5118303"/>
              <a:gd name="connsiteY162" fmla="*/ 4785146 h 6905558"/>
              <a:gd name="connsiteX163" fmla="*/ 334467 w 5118303"/>
              <a:gd name="connsiteY163" fmla="*/ 4786163 h 6905558"/>
              <a:gd name="connsiteX164" fmla="*/ 276030 w 5118303"/>
              <a:gd name="connsiteY164" fmla="*/ 4780354 h 6905558"/>
              <a:gd name="connsiteX165" fmla="*/ 20726 w 5118303"/>
              <a:gd name="connsiteY165" fmla="*/ 4469928 h 6905558"/>
              <a:gd name="connsiteX166" fmla="*/ 20726 w 5118303"/>
              <a:gd name="connsiteY166" fmla="*/ 4466678 h 6905558"/>
              <a:gd name="connsiteX167" fmla="*/ 276496 w 5118303"/>
              <a:gd name="connsiteY167" fmla="*/ 4154697 h 6905558"/>
              <a:gd name="connsiteX168" fmla="*/ 4165274 w 5118303"/>
              <a:gd name="connsiteY168" fmla="*/ 4148210 h 6905558"/>
              <a:gd name="connsiteX169" fmla="*/ 4485115 w 5118303"/>
              <a:gd name="connsiteY169" fmla="*/ 4468302 h 6905558"/>
              <a:gd name="connsiteX170" fmla="*/ 4165274 w 5118303"/>
              <a:gd name="connsiteY170" fmla="*/ 4786771 h 6905558"/>
              <a:gd name="connsiteX171" fmla="*/ 4165274 w 5118303"/>
              <a:gd name="connsiteY171" fmla="*/ 4785146 h 6905558"/>
              <a:gd name="connsiteX172" fmla="*/ 4156648 w 5118303"/>
              <a:gd name="connsiteY172" fmla="*/ 4785896 h 6905558"/>
              <a:gd name="connsiteX173" fmla="*/ 4101258 w 5118303"/>
              <a:gd name="connsiteY173" fmla="*/ 4780285 h 6905558"/>
              <a:gd name="connsiteX174" fmla="*/ 3847055 w 5118303"/>
              <a:gd name="connsiteY174" fmla="*/ 4468302 h 6905558"/>
              <a:gd name="connsiteX175" fmla="*/ 4165274 w 5118303"/>
              <a:gd name="connsiteY175" fmla="*/ 4148210 h 6905558"/>
              <a:gd name="connsiteX176" fmla="*/ 4165274 w 5118303"/>
              <a:gd name="connsiteY176" fmla="*/ 3511274 h 6905558"/>
              <a:gd name="connsiteX177" fmla="*/ 4485115 w 5118303"/>
              <a:gd name="connsiteY177" fmla="*/ 3829742 h 6905558"/>
              <a:gd name="connsiteX178" fmla="*/ 4165274 w 5118303"/>
              <a:gd name="connsiteY178" fmla="*/ 4148210 h 6905558"/>
              <a:gd name="connsiteX179" fmla="*/ 3847055 w 5118303"/>
              <a:gd name="connsiteY179" fmla="*/ 3829742 h 6905558"/>
              <a:gd name="connsiteX180" fmla="*/ 4165274 w 5118303"/>
              <a:gd name="connsiteY180" fmla="*/ 3511274 h 6905558"/>
              <a:gd name="connsiteX181" fmla="*/ 3528836 w 5118303"/>
              <a:gd name="connsiteY181" fmla="*/ 3511274 h 6905558"/>
              <a:gd name="connsiteX182" fmla="*/ 3847055 w 5118303"/>
              <a:gd name="connsiteY182" fmla="*/ 3829742 h 6905558"/>
              <a:gd name="connsiteX183" fmla="*/ 3528836 w 5118303"/>
              <a:gd name="connsiteY183" fmla="*/ 4148210 h 6905558"/>
              <a:gd name="connsiteX184" fmla="*/ 3847055 w 5118303"/>
              <a:gd name="connsiteY184" fmla="*/ 4468302 h 6905558"/>
              <a:gd name="connsiteX185" fmla="*/ 3527212 w 5118303"/>
              <a:gd name="connsiteY185" fmla="*/ 4786771 h 6905558"/>
              <a:gd name="connsiteX186" fmla="*/ 3208994 w 5118303"/>
              <a:gd name="connsiteY186" fmla="*/ 4468302 h 6905558"/>
              <a:gd name="connsiteX187" fmla="*/ 3527212 w 5118303"/>
              <a:gd name="connsiteY187" fmla="*/ 4148210 h 6905558"/>
              <a:gd name="connsiteX188" fmla="*/ 3208994 w 5118303"/>
              <a:gd name="connsiteY188" fmla="*/ 3829742 h 6905558"/>
              <a:gd name="connsiteX189" fmla="*/ 3528836 w 5118303"/>
              <a:gd name="connsiteY189" fmla="*/ 3511274 h 6905558"/>
              <a:gd name="connsiteX190" fmla="*/ 340308 w 5118303"/>
              <a:gd name="connsiteY190" fmla="*/ 3511274 h 6905558"/>
              <a:gd name="connsiteX191" fmla="*/ 658452 w 5118303"/>
              <a:gd name="connsiteY191" fmla="*/ 3829742 h 6905558"/>
              <a:gd name="connsiteX192" fmla="*/ 404310 w 5118303"/>
              <a:gd name="connsiteY192" fmla="*/ 4141790 h 6905558"/>
              <a:gd name="connsiteX193" fmla="*/ 340448 w 5118303"/>
              <a:gd name="connsiteY193" fmla="*/ 4148196 h 6905558"/>
              <a:gd name="connsiteX194" fmla="*/ 276100 w 5118303"/>
              <a:gd name="connsiteY194" fmla="*/ 4141723 h 6905558"/>
              <a:gd name="connsiteX195" fmla="*/ 22350 w 5118303"/>
              <a:gd name="connsiteY195" fmla="*/ 3829742 h 6905558"/>
              <a:gd name="connsiteX196" fmla="*/ 15868 w 5118303"/>
              <a:gd name="connsiteY196" fmla="*/ 3893809 h 6905558"/>
              <a:gd name="connsiteX197" fmla="*/ 0 w 5118303"/>
              <a:gd name="connsiteY197" fmla="*/ 3944810 h 6905558"/>
              <a:gd name="connsiteX198" fmla="*/ 5851 w 5118303"/>
              <a:gd name="connsiteY198" fmla="*/ 3870799 h 6905558"/>
              <a:gd name="connsiteX199" fmla="*/ 16862 w 5118303"/>
              <a:gd name="connsiteY199" fmla="*/ 3776608 h 6905558"/>
              <a:gd name="connsiteX200" fmla="*/ 22165 w 5118303"/>
              <a:gd name="connsiteY200" fmla="*/ 3829742 h 6905558"/>
              <a:gd name="connsiteX201" fmla="*/ 340308 w 5118303"/>
              <a:gd name="connsiteY201" fmla="*/ 3511274 h 6905558"/>
              <a:gd name="connsiteX202" fmla="*/ 2252716 w 5118303"/>
              <a:gd name="connsiteY202" fmla="*/ 2872713 h 6905558"/>
              <a:gd name="connsiteX203" fmla="*/ 2570934 w 5118303"/>
              <a:gd name="connsiteY203" fmla="*/ 3191181 h 6905558"/>
              <a:gd name="connsiteX204" fmla="*/ 2252716 w 5118303"/>
              <a:gd name="connsiteY204" fmla="*/ 3511274 h 6905558"/>
              <a:gd name="connsiteX205" fmla="*/ 1934497 w 5118303"/>
              <a:gd name="connsiteY205" fmla="*/ 3191181 h 6905558"/>
              <a:gd name="connsiteX206" fmla="*/ 2252716 w 5118303"/>
              <a:gd name="connsiteY206" fmla="*/ 2872713 h 6905558"/>
              <a:gd name="connsiteX207" fmla="*/ 978219 w 5118303"/>
              <a:gd name="connsiteY207" fmla="*/ 2234152 h 6905558"/>
              <a:gd name="connsiteX208" fmla="*/ 1042235 w 5118303"/>
              <a:gd name="connsiteY208" fmla="*/ 2240642 h 6905558"/>
              <a:gd name="connsiteX209" fmla="*/ 1296436 w 5118303"/>
              <a:gd name="connsiteY209" fmla="*/ 2554244 h 6905558"/>
              <a:gd name="connsiteX210" fmla="*/ 978218 w 5118303"/>
              <a:gd name="connsiteY210" fmla="*/ 2872713 h 6905558"/>
              <a:gd name="connsiteX211" fmla="*/ 1296436 w 5118303"/>
              <a:gd name="connsiteY211" fmla="*/ 3191181 h 6905558"/>
              <a:gd name="connsiteX212" fmla="*/ 978218 w 5118303"/>
              <a:gd name="connsiteY212" fmla="*/ 3511274 h 6905558"/>
              <a:gd name="connsiteX213" fmla="*/ 1296436 w 5118303"/>
              <a:gd name="connsiteY213" fmla="*/ 3829742 h 6905558"/>
              <a:gd name="connsiteX214" fmla="*/ 1616279 w 5118303"/>
              <a:gd name="connsiteY214" fmla="*/ 3511274 h 6905558"/>
              <a:gd name="connsiteX215" fmla="*/ 1936120 w 5118303"/>
              <a:gd name="connsiteY215" fmla="*/ 3829742 h 6905558"/>
              <a:gd name="connsiteX216" fmla="*/ 1616279 w 5118303"/>
              <a:gd name="connsiteY216" fmla="*/ 4148210 h 6905558"/>
              <a:gd name="connsiteX217" fmla="*/ 1934497 w 5118303"/>
              <a:gd name="connsiteY217" fmla="*/ 4466678 h 6905558"/>
              <a:gd name="connsiteX218" fmla="*/ 2252716 w 5118303"/>
              <a:gd name="connsiteY218" fmla="*/ 4148210 h 6905558"/>
              <a:gd name="connsiteX219" fmla="*/ 2572557 w 5118303"/>
              <a:gd name="connsiteY219" fmla="*/ 4468302 h 6905558"/>
              <a:gd name="connsiteX220" fmla="*/ 2890776 w 5118303"/>
              <a:gd name="connsiteY220" fmla="*/ 4148210 h 6905558"/>
              <a:gd name="connsiteX221" fmla="*/ 3208994 w 5118303"/>
              <a:gd name="connsiteY221" fmla="*/ 4468302 h 6905558"/>
              <a:gd name="connsiteX222" fmla="*/ 2890776 w 5118303"/>
              <a:gd name="connsiteY222" fmla="*/ 4786771 h 6905558"/>
              <a:gd name="connsiteX223" fmla="*/ 3208994 w 5118303"/>
              <a:gd name="connsiteY223" fmla="*/ 5105240 h 6905558"/>
              <a:gd name="connsiteX224" fmla="*/ 2890776 w 5118303"/>
              <a:gd name="connsiteY224" fmla="*/ 5425332 h 6905558"/>
              <a:gd name="connsiteX225" fmla="*/ 3208994 w 5118303"/>
              <a:gd name="connsiteY225" fmla="*/ 5743800 h 6905558"/>
              <a:gd name="connsiteX226" fmla="*/ 2890776 w 5118303"/>
              <a:gd name="connsiteY226" fmla="*/ 6063894 h 6905558"/>
              <a:gd name="connsiteX227" fmla="*/ 2570934 w 5118303"/>
              <a:gd name="connsiteY227" fmla="*/ 5743800 h 6905558"/>
              <a:gd name="connsiteX228" fmla="*/ 2317198 w 5118303"/>
              <a:gd name="connsiteY228" fmla="*/ 6057405 h 6905558"/>
              <a:gd name="connsiteX229" fmla="*/ 2253234 w 5118303"/>
              <a:gd name="connsiteY229" fmla="*/ 6063841 h 6905558"/>
              <a:gd name="connsiteX230" fmla="*/ 2189649 w 5118303"/>
              <a:gd name="connsiteY230" fmla="*/ 6056938 h 6905558"/>
              <a:gd name="connsiteX231" fmla="*/ 1935248 w 5118303"/>
              <a:gd name="connsiteY231" fmla="*/ 5743800 h 6905558"/>
              <a:gd name="connsiteX232" fmla="*/ 1679758 w 5118303"/>
              <a:gd name="connsiteY232" fmla="*/ 6057405 h 6905558"/>
              <a:gd name="connsiteX233" fmla="*/ 1615155 w 5118303"/>
              <a:gd name="connsiteY233" fmla="*/ 6063894 h 6905558"/>
              <a:gd name="connsiteX234" fmla="*/ 1551135 w 5118303"/>
              <a:gd name="connsiteY234" fmla="*/ 6057405 h 6905558"/>
              <a:gd name="connsiteX235" fmla="*/ 1296919 w 5118303"/>
              <a:gd name="connsiteY235" fmla="*/ 5743800 h 6905558"/>
              <a:gd name="connsiteX236" fmla="*/ 978683 w 5118303"/>
              <a:gd name="connsiteY236" fmla="*/ 6063894 h 6905558"/>
              <a:gd name="connsiteX237" fmla="*/ 658823 w 5118303"/>
              <a:gd name="connsiteY237" fmla="*/ 5743800 h 6905558"/>
              <a:gd name="connsiteX238" fmla="*/ 914127 w 5118303"/>
              <a:gd name="connsiteY238" fmla="*/ 5431819 h 6905558"/>
              <a:gd name="connsiteX239" fmla="*/ 978449 w 5118303"/>
              <a:gd name="connsiteY239" fmla="*/ 5425356 h 6905558"/>
              <a:gd name="connsiteX240" fmla="*/ 1042285 w 5118303"/>
              <a:gd name="connsiteY240" fmla="*/ 5431819 h 6905558"/>
              <a:gd name="connsiteX241" fmla="*/ 1296686 w 5118303"/>
              <a:gd name="connsiteY241" fmla="*/ 5743800 h 6905558"/>
              <a:gd name="connsiteX242" fmla="*/ 1615154 w 5118303"/>
              <a:gd name="connsiteY242" fmla="*/ 5425332 h 6905558"/>
              <a:gd name="connsiteX243" fmla="*/ 1296686 w 5118303"/>
              <a:gd name="connsiteY243" fmla="*/ 5106864 h 6905558"/>
              <a:gd name="connsiteX244" fmla="*/ 1042285 w 5118303"/>
              <a:gd name="connsiteY244" fmla="*/ 5418846 h 6905558"/>
              <a:gd name="connsiteX245" fmla="*/ 978450 w 5118303"/>
              <a:gd name="connsiteY245" fmla="*/ 5425309 h 6905558"/>
              <a:gd name="connsiteX246" fmla="*/ 914127 w 5118303"/>
              <a:gd name="connsiteY246" fmla="*/ 5418843 h 6905558"/>
              <a:gd name="connsiteX247" fmla="*/ 658823 w 5118303"/>
              <a:gd name="connsiteY247" fmla="*/ 5105240 h 6905558"/>
              <a:gd name="connsiteX248" fmla="*/ 658638 w 5118303"/>
              <a:gd name="connsiteY248" fmla="*/ 5103399 h 6905558"/>
              <a:gd name="connsiteX249" fmla="*/ 664936 w 5118303"/>
              <a:gd name="connsiteY249" fmla="*/ 5041174 h 6905558"/>
              <a:gd name="connsiteX250" fmla="*/ 978219 w 5118303"/>
              <a:gd name="connsiteY250" fmla="*/ 4786772 h 6905558"/>
              <a:gd name="connsiteX251" fmla="*/ 658452 w 5118303"/>
              <a:gd name="connsiteY251" fmla="*/ 4468304 h 6905558"/>
              <a:gd name="connsiteX252" fmla="*/ 913682 w 5118303"/>
              <a:gd name="connsiteY252" fmla="*/ 4154700 h 6905558"/>
              <a:gd name="connsiteX253" fmla="*/ 978219 w 5118303"/>
              <a:gd name="connsiteY253" fmla="*/ 4148210 h 6905558"/>
              <a:gd name="connsiteX254" fmla="*/ 1042285 w 5118303"/>
              <a:gd name="connsiteY254" fmla="*/ 4154697 h 6905558"/>
              <a:gd name="connsiteX255" fmla="*/ 1296686 w 5118303"/>
              <a:gd name="connsiteY255" fmla="*/ 4466678 h 6905558"/>
              <a:gd name="connsiteX256" fmla="*/ 1615154 w 5118303"/>
              <a:gd name="connsiteY256" fmla="*/ 4148210 h 6905558"/>
              <a:gd name="connsiteX257" fmla="*/ 1296686 w 5118303"/>
              <a:gd name="connsiteY257" fmla="*/ 3831366 h 6905558"/>
              <a:gd name="connsiteX258" fmla="*/ 1042285 w 5118303"/>
              <a:gd name="connsiteY258" fmla="*/ 4141794 h 6905558"/>
              <a:gd name="connsiteX259" fmla="*/ 978219 w 5118303"/>
              <a:gd name="connsiteY259" fmla="*/ 4148210 h 6905558"/>
              <a:gd name="connsiteX260" fmla="*/ 913682 w 5118303"/>
              <a:gd name="connsiteY260" fmla="*/ 4141790 h 6905558"/>
              <a:gd name="connsiteX261" fmla="*/ 658452 w 5118303"/>
              <a:gd name="connsiteY261" fmla="*/ 3829742 h 6905558"/>
              <a:gd name="connsiteX262" fmla="*/ 976596 w 5118303"/>
              <a:gd name="connsiteY262" fmla="*/ 3511274 h 6905558"/>
              <a:gd name="connsiteX263" fmla="*/ 658452 w 5118303"/>
              <a:gd name="connsiteY263" fmla="*/ 3192806 h 6905558"/>
              <a:gd name="connsiteX264" fmla="*/ 658452 w 5118303"/>
              <a:gd name="connsiteY264" fmla="*/ 3191181 h 6905558"/>
              <a:gd name="connsiteX265" fmla="*/ 978219 w 5118303"/>
              <a:gd name="connsiteY265" fmla="*/ 2872713 h 6905558"/>
              <a:gd name="connsiteX266" fmla="*/ 683536 w 5118303"/>
              <a:gd name="connsiteY266" fmla="*/ 2678038 h 6905558"/>
              <a:gd name="connsiteX267" fmla="*/ 670490 w 5118303"/>
              <a:gd name="connsiteY267" fmla="*/ 2636147 h 6905558"/>
              <a:gd name="connsiteX268" fmla="*/ 672940 w 5118303"/>
              <a:gd name="connsiteY268" fmla="*/ 2462187 h 6905558"/>
              <a:gd name="connsiteX269" fmla="*/ 677819 w 5118303"/>
              <a:gd name="connsiteY269" fmla="*/ 2444056 h 6905558"/>
              <a:gd name="connsiteX270" fmla="*/ 913682 w 5118303"/>
              <a:gd name="connsiteY270" fmla="*/ 2240642 h 6905558"/>
              <a:gd name="connsiteX271" fmla="*/ 2253716 w 5118303"/>
              <a:gd name="connsiteY271" fmla="*/ 1597216 h 6905558"/>
              <a:gd name="connsiteX272" fmla="*/ 2571778 w 5118303"/>
              <a:gd name="connsiteY272" fmla="*/ 1915684 h 6905558"/>
              <a:gd name="connsiteX273" fmla="*/ 2891463 w 5118303"/>
              <a:gd name="connsiteY273" fmla="*/ 1597216 h 6905558"/>
              <a:gd name="connsiteX274" fmla="*/ 3209526 w 5118303"/>
              <a:gd name="connsiteY274" fmla="*/ 1915684 h 6905558"/>
              <a:gd name="connsiteX275" fmla="*/ 3527588 w 5118303"/>
              <a:gd name="connsiteY275" fmla="*/ 1597216 h 6905558"/>
              <a:gd name="connsiteX276" fmla="*/ 3792829 w 5118303"/>
              <a:gd name="connsiteY276" fmla="*/ 1737802 h 6905558"/>
              <a:gd name="connsiteX277" fmla="*/ 3801004 w 5118303"/>
              <a:gd name="connsiteY277" fmla="*/ 1752822 h 6905558"/>
              <a:gd name="connsiteX278" fmla="*/ 3822272 w 5118303"/>
              <a:gd name="connsiteY278" fmla="*/ 1791891 h 6905558"/>
              <a:gd name="connsiteX279" fmla="*/ 3847355 w 5118303"/>
              <a:gd name="connsiteY279" fmla="*/ 1915684 h 6905558"/>
              <a:gd name="connsiteX280" fmla="*/ 3527588 w 5118303"/>
              <a:gd name="connsiteY280" fmla="*/ 2234152 h 6905558"/>
              <a:gd name="connsiteX281" fmla="*/ 3753820 w 5118303"/>
              <a:gd name="connsiteY281" fmla="*/ 2327784 h 6905558"/>
              <a:gd name="connsiteX282" fmla="*/ 3792829 w 5118303"/>
              <a:gd name="connsiteY282" fmla="*/ 2375135 h 6905558"/>
              <a:gd name="connsiteX283" fmla="*/ 3822272 w 5118303"/>
              <a:gd name="connsiteY283" fmla="*/ 2429513 h 6905558"/>
              <a:gd name="connsiteX284" fmla="*/ 3847355 w 5118303"/>
              <a:gd name="connsiteY284" fmla="*/ 2554244 h 6905558"/>
              <a:gd name="connsiteX285" fmla="*/ 4165498 w 5118303"/>
              <a:gd name="connsiteY285" fmla="*/ 2234152 h 6905558"/>
              <a:gd name="connsiteX286" fmla="*/ 4391120 w 5118303"/>
              <a:gd name="connsiteY286" fmla="*/ 2327784 h 6905558"/>
              <a:gd name="connsiteX287" fmla="*/ 4428390 w 5118303"/>
              <a:gd name="connsiteY287" fmla="*/ 2373145 h 6905558"/>
              <a:gd name="connsiteX288" fmla="*/ 4430025 w 5118303"/>
              <a:gd name="connsiteY288" fmla="*/ 2375135 h 6905558"/>
              <a:gd name="connsiteX289" fmla="*/ 4485264 w 5118303"/>
              <a:gd name="connsiteY289" fmla="*/ 2554244 h 6905558"/>
              <a:gd name="connsiteX290" fmla="*/ 4803407 w 5118303"/>
              <a:gd name="connsiteY290" fmla="*/ 2234152 h 6905558"/>
              <a:gd name="connsiteX291" fmla="*/ 4577988 w 5118303"/>
              <a:gd name="connsiteY291" fmla="*/ 2140723 h 6905558"/>
              <a:gd name="connsiteX292" fmla="*/ 4539276 w 5118303"/>
              <a:gd name="connsiteY292" fmla="*/ 2093565 h 6905558"/>
              <a:gd name="connsiteX293" fmla="*/ 4510094 w 5118303"/>
              <a:gd name="connsiteY293" fmla="*/ 2039476 h 6905558"/>
              <a:gd name="connsiteX294" fmla="*/ 4485264 w 5118303"/>
              <a:gd name="connsiteY294" fmla="*/ 1915684 h 6905558"/>
              <a:gd name="connsiteX295" fmla="*/ 4801784 w 5118303"/>
              <a:gd name="connsiteY295" fmla="*/ 1597216 h 6905558"/>
              <a:gd name="connsiteX296" fmla="*/ 4896864 w 5118303"/>
              <a:gd name="connsiteY296" fmla="*/ 1612829 h 6905558"/>
              <a:gd name="connsiteX297" fmla="*/ 4909876 w 5118303"/>
              <a:gd name="connsiteY297" fmla="*/ 1616576 h 6905558"/>
              <a:gd name="connsiteX298" fmla="*/ 4987828 w 5118303"/>
              <a:gd name="connsiteY298" fmla="*/ 1657740 h 6905558"/>
              <a:gd name="connsiteX299" fmla="*/ 5000802 w 5118303"/>
              <a:gd name="connsiteY299" fmla="*/ 1667499 h 6905558"/>
              <a:gd name="connsiteX300" fmla="*/ 5061182 w 5118303"/>
              <a:gd name="connsiteY300" fmla="*/ 1730098 h 6905558"/>
              <a:gd name="connsiteX301" fmla="*/ 5078932 w 5118303"/>
              <a:gd name="connsiteY301" fmla="*/ 1758352 h 6905558"/>
              <a:gd name="connsiteX302" fmla="*/ 5087854 w 5118303"/>
              <a:gd name="connsiteY302" fmla="*/ 1773720 h 6905558"/>
              <a:gd name="connsiteX303" fmla="*/ 5107764 w 5118303"/>
              <a:gd name="connsiteY303" fmla="*/ 1824708 h 6905558"/>
              <a:gd name="connsiteX304" fmla="*/ 5107766 w 5118303"/>
              <a:gd name="connsiteY304" fmla="*/ 1824714 h 6905558"/>
              <a:gd name="connsiteX305" fmla="*/ 5118303 w 5118303"/>
              <a:gd name="connsiteY305" fmla="*/ 1883181 h 6905558"/>
              <a:gd name="connsiteX306" fmla="*/ 5118303 w 5118303"/>
              <a:gd name="connsiteY306" fmla="*/ 3223689 h 6905558"/>
              <a:gd name="connsiteX307" fmla="*/ 5107834 w 5118303"/>
              <a:gd name="connsiteY307" fmla="*/ 3282219 h 6905558"/>
              <a:gd name="connsiteX308" fmla="*/ 4803334 w 5118303"/>
              <a:gd name="connsiteY308" fmla="*/ 3511274 h 6905558"/>
              <a:gd name="connsiteX309" fmla="*/ 4483492 w 5118303"/>
              <a:gd name="connsiteY309" fmla="*/ 3202555 h 6905558"/>
              <a:gd name="connsiteX310" fmla="*/ 4481868 w 5118303"/>
              <a:gd name="connsiteY310" fmla="*/ 3192806 h 6905558"/>
              <a:gd name="connsiteX311" fmla="*/ 4481868 w 5118303"/>
              <a:gd name="connsiteY311" fmla="*/ 3191181 h 6905558"/>
              <a:gd name="connsiteX312" fmla="*/ 4483492 w 5118303"/>
              <a:gd name="connsiteY312" fmla="*/ 3181431 h 6905558"/>
              <a:gd name="connsiteX313" fmla="*/ 4801710 w 5118303"/>
              <a:gd name="connsiteY313" fmla="*/ 2872713 h 6905558"/>
              <a:gd name="connsiteX314" fmla="*/ 4483492 w 5118303"/>
              <a:gd name="connsiteY314" fmla="*/ 2554244 h 6905558"/>
              <a:gd name="connsiteX315" fmla="*/ 4165274 w 5118303"/>
              <a:gd name="connsiteY315" fmla="*/ 2874338 h 6905558"/>
              <a:gd name="connsiteX316" fmla="*/ 3847055 w 5118303"/>
              <a:gd name="connsiteY316" fmla="*/ 2554244 h 6905558"/>
              <a:gd name="connsiteX317" fmla="*/ 3591764 w 5118303"/>
              <a:gd name="connsiteY317" fmla="*/ 2866293 h 6905558"/>
              <a:gd name="connsiteX318" fmla="*/ 3527402 w 5118303"/>
              <a:gd name="connsiteY318" fmla="*/ 2872694 h 6905558"/>
              <a:gd name="connsiteX319" fmla="*/ 3463522 w 5118303"/>
              <a:gd name="connsiteY319" fmla="*/ 2866226 h 6905558"/>
              <a:gd name="connsiteX320" fmla="*/ 3214108 w 5118303"/>
              <a:gd name="connsiteY320" fmla="*/ 2610514 h 6905558"/>
              <a:gd name="connsiteX321" fmla="*/ 3209120 w 5118303"/>
              <a:gd name="connsiteY321" fmla="*/ 2554245 h 6905558"/>
              <a:gd name="connsiteX322" fmla="*/ 3215607 w 5118303"/>
              <a:gd name="connsiteY322" fmla="*/ 2489642 h 6905558"/>
              <a:gd name="connsiteX323" fmla="*/ 3527588 w 5118303"/>
              <a:gd name="connsiteY323" fmla="*/ 2234153 h 6905558"/>
              <a:gd name="connsiteX324" fmla="*/ 3209120 w 5118303"/>
              <a:gd name="connsiteY324" fmla="*/ 1915684 h 6905558"/>
              <a:gd name="connsiteX325" fmla="*/ 2890652 w 5118303"/>
              <a:gd name="connsiteY325" fmla="*/ 2234153 h 6905558"/>
              <a:gd name="connsiteX326" fmla="*/ 2571374 w 5118303"/>
              <a:gd name="connsiteY326" fmla="*/ 1915684 h 6905558"/>
              <a:gd name="connsiteX327" fmla="*/ 2253716 w 5118303"/>
              <a:gd name="connsiteY327" fmla="*/ 2234153 h 6905558"/>
              <a:gd name="connsiteX328" fmla="*/ 1935248 w 5118303"/>
              <a:gd name="connsiteY328" fmla="*/ 1915684 h 6905558"/>
              <a:gd name="connsiteX329" fmla="*/ 2253716 w 5118303"/>
              <a:gd name="connsiteY329" fmla="*/ 1597216 h 6905558"/>
              <a:gd name="connsiteX330" fmla="*/ 978219 w 5118303"/>
              <a:gd name="connsiteY330" fmla="*/ 1597216 h 6905558"/>
              <a:gd name="connsiteX331" fmla="*/ 1042235 w 5118303"/>
              <a:gd name="connsiteY331" fmla="*/ 1603703 h 6905558"/>
              <a:gd name="connsiteX332" fmla="*/ 1296436 w 5118303"/>
              <a:gd name="connsiteY332" fmla="*/ 1915684 h 6905558"/>
              <a:gd name="connsiteX333" fmla="*/ 1042235 w 5118303"/>
              <a:gd name="connsiteY333" fmla="*/ 2227666 h 6905558"/>
              <a:gd name="connsiteX334" fmla="*/ 978219 w 5118303"/>
              <a:gd name="connsiteY334" fmla="*/ 2234152 h 6905558"/>
              <a:gd name="connsiteX335" fmla="*/ 913682 w 5118303"/>
              <a:gd name="connsiteY335" fmla="*/ 2227666 h 6905558"/>
              <a:gd name="connsiteX336" fmla="*/ 677819 w 5118303"/>
              <a:gd name="connsiteY336" fmla="*/ 2025023 h 6905558"/>
              <a:gd name="connsiteX337" fmla="*/ 675256 w 5118303"/>
              <a:gd name="connsiteY337" fmla="*/ 2015566 h 6905558"/>
              <a:gd name="connsiteX338" fmla="*/ 675256 w 5118303"/>
              <a:gd name="connsiteY338" fmla="*/ 1815802 h 6905558"/>
              <a:gd name="connsiteX339" fmla="*/ 677819 w 5118303"/>
              <a:gd name="connsiteY339" fmla="*/ 1806345 h 6905558"/>
              <a:gd name="connsiteX340" fmla="*/ 913682 w 5118303"/>
              <a:gd name="connsiteY340" fmla="*/ 1603703 h 6905558"/>
              <a:gd name="connsiteX341" fmla="*/ 3527588 w 5118303"/>
              <a:gd name="connsiteY341" fmla="*/ 958654 h 6905558"/>
              <a:gd name="connsiteX342" fmla="*/ 3847682 w 5118303"/>
              <a:gd name="connsiteY342" fmla="*/ 1277122 h 6905558"/>
              <a:gd name="connsiteX343" fmla="*/ 4102083 w 5118303"/>
              <a:gd name="connsiteY343" fmla="*/ 965141 h 6905558"/>
              <a:gd name="connsiteX344" fmla="*/ 4165825 w 5118303"/>
              <a:gd name="connsiteY344" fmla="*/ 958687 h 6905558"/>
              <a:gd name="connsiteX345" fmla="*/ 4230036 w 5118303"/>
              <a:gd name="connsiteY345" fmla="*/ 965141 h 6905558"/>
              <a:gd name="connsiteX346" fmla="*/ 4485264 w 5118303"/>
              <a:gd name="connsiteY346" fmla="*/ 1277122 h 6905558"/>
              <a:gd name="connsiteX347" fmla="*/ 4165498 w 5118303"/>
              <a:gd name="connsiteY347" fmla="*/ 1597216 h 6905558"/>
              <a:gd name="connsiteX348" fmla="*/ 3940688 w 5118303"/>
              <a:gd name="connsiteY348" fmla="*/ 1503584 h 6905558"/>
              <a:gd name="connsiteX349" fmla="*/ 3902637 w 5118303"/>
              <a:gd name="connsiteY349" fmla="*/ 1457259 h 6905558"/>
              <a:gd name="connsiteX350" fmla="*/ 3901795 w 5118303"/>
              <a:gd name="connsiteY350" fmla="*/ 1456232 h 6905558"/>
              <a:gd name="connsiteX351" fmla="*/ 3847355 w 5118303"/>
              <a:gd name="connsiteY351" fmla="*/ 1277122 h 6905558"/>
              <a:gd name="connsiteX352" fmla="*/ 3527588 w 5118303"/>
              <a:gd name="connsiteY352" fmla="*/ 1597216 h 6905558"/>
              <a:gd name="connsiteX353" fmla="*/ 3209526 w 5118303"/>
              <a:gd name="connsiteY353" fmla="*/ 1277122 h 6905558"/>
              <a:gd name="connsiteX354" fmla="*/ 3117028 w 5118303"/>
              <a:gd name="connsiteY354" fmla="*/ 1502975 h 6905558"/>
              <a:gd name="connsiteX355" fmla="*/ 3115405 w 5118303"/>
              <a:gd name="connsiteY355" fmla="*/ 1502975 h 6905558"/>
              <a:gd name="connsiteX356" fmla="*/ 3094310 w 5118303"/>
              <a:gd name="connsiteY356" fmla="*/ 1522473 h 6905558"/>
              <a:gd name="connsiteX357" fmla="*/ 3081327 w 5118303"/>
              <a:gd name="connsiteY357" fmla="*/ 1532222 h 6905558"/>
              <a:gd name="connsiteX358" fmla="*/ 3081327 w 5118303"/>
              <a:gd name="connsiteY358" fmla="*/ 1533848 h 6905558"/>
              <a:gd name="connsiteX359" fmla="*/ 3056986 w 5118303"/>
              <a:gd name="connsiteY359" fmla="*/ 1550096 h 6905558"/>
              <a:gd name="connsiteX360" fmla="*/ 3052117 w 5118303"/>
              <a:gd name="connsiteY360" fmla="*/ 1553346 h 6905558"/>
              <a:gd name="connsiteX361" fmla="*/ 3042380 w 5118303"/>
              <a:gd name="connsiteY361" fmla="*/ 1558220 h 6905558"/>
              <a:gd name="connsiteX362" fmla="*/ 3040758 w 5118303"/>
              <a:gd name="connsiteY362" fmla="*/ 1558220 h 6905558"/>
              <a:gd name="connsiteX363" fmla="*/ 3029399 w 5118303"/>
              <a:gd name="connsiteY363" fmla="*/ 1564719 h 6905558"/>
              <a:gd name="connsiteX364" fmla="*/ 3027776 w 5118303"/>
              <a:gd name="connsiteY364" fmla="*/ 1566344 h 6905558"/>
              <a:gd name="connsiteX365" fmla="*/ 3014793 w 5118303"/>
              <a:gd name="connsiteY365" fmla="*/ 1571218 h 6905558"/>
              <a:gd name="connsiteX366" fmla="*/ 3000189 w 5118303"/>
              <a:gd name="connsiteY366" fmla="*/ 1577717 h 6905558"/>
              <a:gd name="connsiteX367" fmla="*/ 2996943 w 5118303"/>
              <a:gd name="connsiteY367" fmla="*/ 1577717 h 6905558"/>
              <a:gd name="connsiteX368" fmla="*/ 2985584 w 5118303"/>
              <a:gd name="connsiteY368" fmla="*/ 1582593 h 6905558"/>
              <a:gd name="connsiteX369" fmla="*/ 2980715 w 5118303"/>
              <a:gd name="connsiteY369" fmla="*/ 1584217 h 6905558"/>
              <a:gd name="connsiteX370" fmla="*/ 2970978 w 5118303"/>
              <a:gd name="connsiteY370" fmla="*/ 1587467 h 6905558"/>
              <a:gd name="connsiteX371" fmla="*/ 2962865 w 5118303"/>
              <a:gd name="connsiteY371" fmla="*/ 1587467 h 6905558"/>
              <a:gd name="connsiteX372" fmla="*/ 2954752 w 5118303"/>
              <a:gd name="connsiteY372" fmla="*/ 1590716 h 6905558"/>
              <a:gd name="connsiteX373" fmla="*/ 2948260 w 5118303"/>
              <a:gd name="connsiteY373" fmla="*/ 1590716 h 6905558"/>
              <a:gd name="connsiteX374" fmla="*/ 2940146 w 5118303"/>
              <a:gd name="connsiteY374" fmla="*/ 1592342 h 6905558"/>
              <a:gd name="connsiteX375" fmla="*/ 2932032 w 5118303"/>
              <a:gd name="connsiteY375" fmla="*/ 1593966 h 6905558"/>
              <a:gd name="connsiteX376" fmla="*/ 2923919 w 5118303"/>
              <a:gd name="connsiteY376" fmla="*/ 1593966 h 6905558"/>
              <a:gd name="connsiteX377" fmla="*/ 2891463 w 5118303"/>
              <a:gd name="connsiteY377" fmla="*/ 1595591 h 6905558"/>
              <a:gd name="connsiteX378" fmla="*/ 2571778 w 5118303"/>
              <a:gd name="connsiteY378" fmla="*/ 1277122 h 6905558"/>
              <a:gd name="connsiteX379" fmla="*/ 2826943 w 5118303"/>
              <a:gd name="connsiteY379" fmla="*/ 965141 h 6905558"/>
              <a:gd name="connsiteX380" fmla="*/ 2891126 w 5118303"/>
              <a:gd name="connsiteY380" fmla="*/ 958688 h 6905558"/>
              <a:gd name="connsiteX381" fmla="*/ 2913400 w 5118303"/>
              <a:gd name="connsiteY381" fmla="*/ 960280 h 6905558"/>
              <a:gd name="connsiteX382" fmla="*/ 2923148 w 5118303"/>
              <a:gd name="connsiteY382" fmla="*/ 960280 h 6905558"/>
              <a:gd name="connsiteX383" fmla="*/ 2952396 w 5118303"/>
              <a:gd name="connsiteY383" fmla="*/ 965153 h 6905558"/>
              <a:gd name="connsiteX384" fmla="*/ 2954021 w 5118303"/>
              <a:gd name="connsiteY384" fmla="*/ 965153 h 6905558"/>
              <a:gd name="connsiteX385" fmla="*/ 2980018 w 5118303"/>
              <a:gd name="connsiteY385" fmla="*/ 971653 h 6905558"/>
              <a:gd name="connsiteX386" fmla="*/ 2984892 w 5118303"/>
              <a:gd name="connsiteY386" fmla="*/ 973278 h 6905558"/>
              <a:gd name="connsiteX387" fmla="*/ 2999516 w 5118303"/>
              <a:gd name="connsiteY387" fmla="*/ 978152 h 6905558"/>
              <a:gd name="connsiteX388" fmla="*/ 3010890 w 5118303"/>
              <a:gd name="connsiteY388" fmla="*/ 983027 h 6905558"/>
              <a:gd name="connsiteX389" fmla="*/ 3014139 w 5118303"/>
              <a:gd name="connsiteY389" fmla="*/ 983027 h 6905558"/>
              <a:gd name="connsiteX390" fmla="*/ 3023888 w 5118303"/>
              <a:gd name="connsiteY390" fmla="*/ 987901 h 6905558"/>
              <a:gd name="connsiteX391" fmla="*/ 3028763 w 5118303"/>
              <a:gd name="connsiteY391" fmla="*/ 989527 h 6905558"/>
              <a:gd name="connsiteX392" fmla="*/ 3041762 w 5118303"/>
              <a:gd name="connsiteY392" fmla="*/ 996026 h 6905558"/>
              <a:gd name="connsiteX393" fmla="*/ 3041762 w 5118303"/>
              <a:gd name="connsiteY393" fmla="*/ 997650 h 6905558"/>
              <a:gd name="connsiteX394" fmla="*/ 3067760 w 5118303"/>
              <a:gd name="connsiteY394" fmla="*/ 1012274 h 6905558"/>
              <a:gd name="connsiteX395" fmla="*/ 3069384 w 5118303"/>
              <a:gd name="connsiteY395" fmla="*/ 1013899 h 6905558"/>
              <a:gd name="connsiteX396" fmla="*/ 3209120 w 5118303"/>
              <a:gd name="connsiteY396" fmla="*/ 1277122 h 6905558"/>
              <a:gd name="connsiteX397" fmla="*/ 3527588 w 5118303"/>
              <a:gd name="connsiteY397" fmla="*/ 958654 h 6905558"/>
              <a:gd name="connsiteX398" fmla="*/ 2253716 w 5118303"/>
              <a:gd name="connsiteY398" fmla="*/ 958654 h 6905558"/>
              <a:gd name="connsiteX399" fmla="*/ 2571778 w 5118303"/>
              <a:gd name="connsiteY399" fmla="*/ 1277122 h 6905558"/>
              <a:gd name="connsiteX400" fmla="*/ 2253716 w 5118303"/>
              <a:gd name="connsiteY400" fmla="*/ 1597216 h 6905558"/>
              <a:gd name="connsiteX401" fmla="*/ 1935248 w 5118303"/>
              <a:gd name="connsiteY401" fmla="*/ 1277122 h 6905558"/>
              <a:gd name="connsiteX402" fmla="*/ 2253716 w 5118303"/>
              <a:gd name="connsiteY402" fmla="*/ 958654 h 6905558"/>
              <a:gd name="connsiteX403" fmla="*/ 978219 w 5118303"/>
              <a:gd name="connsiteY403" fmla="*/ 320094 h 6905558"/>
              <a:gd name="connsiteX404" fmla="*/ 1042285 w 5118303"/>
              <a:gd name="connsiteY404" fmla="*/ 326584 h 6905558"/>
              <a:gd name="connsiteX405" fmla="*/ 1296686 w 5118303"/>
              <a:gd name="connsiteY405" fmla="*/ 640187 h 6905558"/>
              <a:gd name="connsiteX406" fmla="*/ 1615154 w 5118303"/>
              <a:gd name="connsiteY406" fmla="*/ 320094 h 6905558"/>
              <a:gd name="connsiteX407" fmla="*/ 1616359 w 5118303"/>
              <a:gd name="connsiteY407" fmla="*/ 320215 h 6905558"/>
              <a:gd name="connsiteX408" fmla="*/ 1679593 w 5118303"/>
              <a:gd name="connsiteY408" fmla="*/ 326584 h 6905558"/>
              <a:gd name="connsiteX409" fmla="*/ 1934433 w 5118303"/>
              <a:gd name="connsiteY409" fmla="*/ 640187 h 6905558"/>
              <a:gd name="connsiteX410" fmla="*/ 1934840 w 5118303"/>
              <a:gd name="connsiteY410" fmla="*/ 636126 h 6905558"/>
              <a:gd name="connsiteX411" fmla="*/ 1935248 w 5118303"/>
              <a:gd name="connsiteY411" fmla="*/ 640187 h 6905558"/>
              <a:gd name="connsiteX412" fmla="*/ 1928758 w 5118303"/>
              <a:gd name="connsiteY412" fmla="*/ 704253 h 6905558"/>
              <a:gd name="connsiteX413" fmla="*/ 1615154 w 5118303"/>
              <a:gd name="connsiteY413" fmla="*/ 958654 h 6905558"/>
              <a:gd name="connsiteX414" fmla="*/ 1935248 w 5118303"/>
              <a:gd name="connsiteY414" fmla="*/ 1277122 h 6905558"/>
              <a:gd name="connsiteX415" fmla="*/ 1615154 w 5118303"/>
              <a:gd name="connsiteY415" fmla="*/ 1597216 h 6905558"/>
              <a:gd name="connsiteX416" fmla="*/ 1935248 w 5118303"/>
              <a:gd name="connsiteY416" fmla="*/ 1915684 h 6905558"/>
              <a:gd name="connsiteX417" fmla="*/ 1615154 w 5118303"/>
              <a:gd name="connsiteY417" fmla="*/ 2234153 h 6905558"/>
              <a:gd name="connsiteX418" fmla="*/ 1935248 w 5118303"/>
              <a:gd name="connsiteY418" fmla="*/ 2554245 h 6905558"/>
              <a:gd name="connsiteX419" fmla="*/ 2253716 w 5118303"/>
              <a:gd name="connsiteY419" fmla="*/ 2234153 h 6905558"/>
              <a:gd name="connsiteX420" fmla="*/ 2571374 w 5118303"/>
              <a:gd name="connsiteY420" fmla="*/ 2554245 h 6905558"/>
              <a:gd name="connsiteX421" fmla="*/ 2890652 w 5118303"/>
              <a:gd name="connsiteY421" fmla="*/ 2234153 h 6905558"/>
              <a:gd name="connsiteX422" fmla="*/ 3202634 w 5118303"/>
              <a:gd name="connsiteY422" fmla="*/ 2489642 h 6905558"/>
              <a:gd name="connsiteX423" fmla="*/ 3209120 w 5118303"/>
              <a:gd name="connsiteY423" fmla="*/ 2554245 h 6905558"/>
              <a:gd name="connsiteX424" fmla="*/ 3202634 w 5118303"/>
              <a:gd name="connsiteY424" fmla="*/ 2618311 h 6905558"/>
              <a:gd name="connsiteX425" fmla="*/ 2890652 w 5118303"/>
              <a:gd name="connsiteY425" fmla="*/ 2872713 h 6905558"/>
              <a:gd name="connsiteX426" fmla="*/ 3202634 w 5118303"/>
              <a:gd name="connsiteY426" fmla="*/ 3127114 h 6905558"/>
              <a:gd name="connsiteX427" fmla="*/ 3209057 w 5118303"/>
              <a:gd name="connsiteY427" fmla="*/ 3190558 h 6905558"/>
              <a:gd name="connsiteX428" fmla="*/ 3208994 w 5118303"/>
              <a:gd name="connsiteY428" fmla="*/ 3191181 h 6905558"/>
              <a:gd name="connsiteX429" fmla="*/ 3208994 w 5118303"/>
              <a:gd name="connsiteY429" fmla="*/ 3192806 h 6905558"/>
              <a:gd name="connsiteX430" fmla="*/ 2890776 w 5118303"/>
              <a:gd name="connsiteY430" fmla="*/ 3511274 h 6905558"/>
              <a:gd name="connsiteX431" fmla="*/ 2889152 w 5118303"/>
              <a:gd name="connsiteY431" fmla="*/ 3511274 h 6905558"/>
              <a:gd name="connsiteX432" fmla="*/ 2570934 w 5118303"/>
              <a:gd name="connsiteY432" fmla="*/ 3192806 h 6905558"/>
              <a:gd name="connsiteX433" fmla="*/ 2889152 w 5118303"/>
              <a:gd name="connsiteY433" fmla="*/ 2872713 h 6905558"/>
              <a:gd name="connsiteX434" fmla="*/ 2570934 w 5118303"/>
              <a:gd name="connsiteY434" fmla="*/ 2554244 h 6905558"/>
              <a:gd name="connsiteX435" fmla="*/ 2252716 w 5118303"/>
              <a:gd name="connsiteY435" fmla="*/ 2872713 h 6905558"/>
              <a:gd name="connsiteX436" fmla="*/ 1934497 w 5118303"/>
              <a:gd name="connsiteY436" fmla="*/ 2554244 h 6905558"/>
              <a:gd name="connsiteX437" fmla="*/ 1614654 w 5118303"/>
              <a:gd name="connsiteY437" fmla="*/ 2872713 h 6905558"/>
              <a:gd name="connsiteX438" fmla="*/ 1296436 w 5118303"/>
              <a:gd name="connsiteY438" fmla="*/ 2554244 h 6905558"/>
              <a:gd name="connsiteX439" fmla="*/ 1614654 w 5118303"/>
              <a:gd name="connsiteY439" fmla="*/ 2234152 h 6905558"/>
              <a:gd name="connsiteX440" fmla="*/ 1296436 w 5118303"/>
              <a:gd name="connsiteY440" fmla="*/ 1915684 h 6905558"/>
              <a:gd name="connsiteX441" fmla="*/ 1614654 w 5118303"/>
              <a:gd name="connsiteY441" fmla="*/ 1597216 h 6905558"/>
              <a:gd name="connsiteX442" fmla="*/ 1296436 w 5118303"/>
              <a:gd name="connsiteY442" fmla="*/ 1277122 h 6905558"/>
              <a:gd name="connsiteX443" fmla="*/ 1614654 w 5118303"/>
              <a:gd name="connsiteY443" fmla="*/ 958654 h 6905558"/>
              <a:gd name="connsiteX444" fmla="*/ 1296436 w 5118303"/>
              <a:gd name="connsiteY444" fmla="*/ 640186 h 6905558"/>
              <a:gd name="connsiteX445" fmla="*/ 978218 w 5118303"/>
              <a:gd name="connsiteY445" fmla="*/ 958654 h 6905558"/>
              <a:gd name="connsiteX446" fmla="*/ 1296436 w 5118303"/>
              <a:gd name="connsiteY446" fmla="*/ 1277122 h 6905558"/>
              <a:gd name="connsiteX447" fmla="*/ 1042235 w 5118303"/>
              <a:gd name="connsiteY447" fmla="*/ 1590726 h 6905558"/>
              <a:gd name="connsiteX448" fmla="*/ 978219 w 5118303"/>
              <a:gd name="connsiteY448" fmla="*/ 1597216 h 6905558"/>
              <a:gd name="connsiteX449" fmla="*/ 913749 w 5118303"/>
              <a:gd name="connsiteY449" fmla="*/ 1590730 h 6905558"/>
              <a:gd name="connsiteX450" fmla="*/ 678470 w 5118303"/>
              <a:gd name="connsiteY450" fmla="*/ 1388086 h 6905558"/>
              <a:gd name="connsiteX451" fmla="*/ 675256 w 5118303"/>
              <a:gd name="connsiteY451" fmla="*/ 1376415 h 6905558"/>
              <a:gd name="connsiteX452" fmla="*/ 675256 w 5118303"/>
              <a:gd name="connsiteY452" fmla="*/ 1181780 h 6905558"/>
              <a:gd name="connsiteX453" fmla="*/ 684220 w 5118303"/>
              <a:gd name="connsiteY453" fmla="*/ 1153331 h 6905558"/>
              <a:gd name="connsiteX454" fmla="*/ 978219 w 5118303"/>
              <a:gd name="connsiteY454" fmla="*/ 958655 h 6905558"/>
              <a:gd name="connsiteX455" fmla="*/ 684220 w 5118303"/>
              <a:gd name="connsiteY455" fmla="*/ 763979 h 6905558"/>
              <a:gd name="connsiteX456" fmla="*/ 675256 w 5118303"/>
              <a:gd name="connsiteY456" fmla="*/ 735530 h 6905558"/>
              <a:gd name="connsiteX457" fmla="*/ 675256 w 5118303"/>
              <a:gd name="connsiteY457" fmla="*/ 540894 h 6905558"/>
              <a:gd name="connsiteX458" fmla="*/ 678470 w 5118303"/>
              <a:gd name="connsiteY458" fmla="*/ 529223 h 6905558"/>
              <a:gd name="connsiteX459" fmla="*/ 913749 w 5118303"/>
              <a:gd name="connsiteY459" fmla="*/ 326581 h 6905558"/>
              <a:gd name="connsiteX460" fmla="*/ 675256 w 5118303"/>
              <a:gd name="connsiteY460" fmla="*/ 0 h 6905558"/>
              <a:gd name="connsiteX461" fmla="*/ 5118303 w 5118303"/>
              <a:gd name="connsiteY461" fmla="*/ 0 h 6905558"/>
              <a:gd name="connsiteX462" fmla="*/ 5118303 w 5118303"/>
              <a:gd name="connsiteY462" fmla="*/ 34128 h 6905558"/>
              <a:gd name="connsiteX463" fmla="*/ 5107763 w 5118303"/>
              <a:gd name="connsiteY463" fmla="*/ 92594 h 6905558"/>
              <a:gd name="connsiteX464" fmla="*/ 4801692 w 5118303"/>
              <a:gd name="connsiteY464" fmla="*/ 320094 h 6905558"/>
              <a:gd name="connsiteX465" fmla="*/ 4483456 w 5118303"/>
              <a:gd name="connsiteY465" fmla="*/ 1626 h 6905558"/>
              <a:gd name="connsiteX466" fmla="*/ 4165220 w 5118303"/>
              <a:gd name="connsiteY466" fmla="*/ 320094 h 6905558"/>
              <a:gd name="connsiteX467" fmla="*/ 3846984 w 5118303"/>
              <a:gd name="connsiteY467" fmla="*/ 1626 h 6905558"/>
              <a:gd name="connsiteX468" fmla="*/ 3527124 w 5118303"/>
              <a:gd name="connsiteY468" fmla="*/ 320094 h 6905558"/>
              <a:gd name="connsiteX469" fmla="*/ 3208888 w 5118303"/>
              <a:gd name="connsiteY469" fmla="*/ 1626 h 6905558"/>
              <a:gd name="connsiteX470" fmla="*/ 2890652 w 5118303"/>
              <a:gd name="connsiteY470" fmla="*/ 320094 h 6905558"/>
              <a:gd name="connsiteX471" fmla="*/ 3208888 w 5118303"/>
              <a:gd name="connsiteY471" fmla="*/ 640187 h 6905558"/>
              <a:gd name="connsiteX472" fmla="*/ 3527124 w 5118303"/>
              <a:gd name="connsiteY472" fmla="*/ 320094 h 6905558"/>
              <a:gd name="connsiteX473" fmla="*/ 3846984 w 5118303"/>
              <a:gd name="connsiteY473" fmla="*/ 640187 h 6905558"/>
              <a:gd name="connsiteX474" fmla="*/ 4165220 w 5118303"/>
              <a:gd name="connsiteY474" fmla="*/ 320094 h 6905558"/>
              <a:gd name="connsiteX475" fmla="*/ 4483456 w 5118303"/>
              <a:gd name="connsiteY475" fmla="*/ 640187 h 6905558"/>
              <a:gd name="connsiteX476" fmla="*/ 4801692 w 5118303"/>
              <a:gd name="connsiteY476" fmla="*/ 320094 h 6905558"/>
              <a:gd name="connsiteX477" fmla="*/ 5107763 w 5118303"/>
              <a:gd name="connsiteY477" fmla="*/ 548060 h 6905558"/>
              <a:gd name="connsiteX478" fmla="*/ 5118303 w 5118303"/>
              <a:gd name="connsiteY478" fmla="*/ 606060 h 6905558"/>
              <a:gd name="connsiteX479" fmla="*/ 5118303 w 5118303"/>
              <a:gd name="connsiteY479" fmla="*/ 672689 h 6905558"/>
              <a:gd name="connsiteX480" fmla="*/ 5115370 w 5118303"/>
              <a:gd name="connsiteY480" fmla="*/ 688964 h 6905558"/>
              <a:gd name="connsiteX481" fmla="*/ 5107766 w 5118303"/>
              <a:gd name="connsiteY481" fmla="*/ 731154 h 6905558"/>
              <a:gd name="connsiteX482" fmla="*/ 5107758 w 5118303"/>
              <a:gd name="connsiteY482" fmla="*/ 731176 h 6905558"/>
              <a:gd name="connsiteX483" fmla="*/ 5087854 w 5118303"/>
              <a:gd name="connsiteY483" fmla="*/ 782149 h 6905558"/>
              <a:gd name="connsiteX484" fmla="*/ 5078932 w 5118303"/>
              <a:gd name="connsiteY484" fmla="*/ 797517 h 6905558"/>
              <a:gd name="connsiteX485" fmla="*/ 5061182 w 5118303"/>
              <a:gd name="connsiteY485" fmla="*/ 825772 h 6905558"/>
              <a:gd name="connsiteX486" fmla="*/ 5000802 w 5118303"/>
              <a:gd name="connsiteY486" fmla="*/ 888370 h 6905558"/>
              <a:gd name="connsiteX487" fmla="*/ 4987827 w 5118303"/>
              <a:gd name="connsiteY487" fmla="*/ 898130 h 6905558"/>
              <a:gd name="connsiteX488" fmla="*/ 4909878 w 5118303"/>
              <a:gd name="connsiteY488" fmla="*/ 939293 h 6905558"/>
              <a:gd name="connsiteX489" fmla="*/ 4896860 w 5118303"/>
              <a:gd name="connsiteY489" fmla="*/ 943040 h 6905558"/>
              <a:gd name="connsiteX490" fmla="*/ 4801784 w 5118303"/>
              <a:gd name="connsiteY490" fmla="*/ 958654 h 6905558"/>
              <a:gd name="connsiteX491" fmla="*/ 4483641 w 5118303"/>
              <a:gd name="connsiteY491" fmla="*/ 640186 h 6905558"/>
              <a:gd name="connsiteX492" fmla="*/ 4289849 w 5118303"/>
              <a:gd name="connsiteY492" fmla="*/ 933571 h 6905558"/>
              <a:gd name="connsiteX493" fmla="*/ 4229966 w 5118303"/>
              <a:gd name="connsiteY493" fmla="*/ 952168 h 6905558"/>
              <a:gd name="connsiteX494" fmla="*/ 4165825 w 5118303"/>
              <a:gd name="connsiteY494" fmla="*/ 958621 h 6905558"/>
              <a:gd name="connsiteX495" fmla="*/ 4102083 w 5118303"/>
              <a:gd name="connsiteY495" fmla="*/ 952167 h 6905558"/>
              <a:gd name="connsiteX496" fmla="*/ 3847682 w 5118303"/>
              <a:gd name="connsiteY496" fmla="*/ 640186 h 6905558"/>
              <a:gd name="connsiteX497" fmla="*/ 3527588 w 5118303"/>
              <a:gd name="connsiteY497" fmla="*/ 958654 h 6905558"/>
              <a:gd name="connsiteX498" fmla="*/ 3209120 w 5118303"/>
              <a:gd name="connsiteY498" fmla="*/ 640186 h 6905558"/>
              <a:gd name="connsiteX499" fmla="*/ 2954719 w 5118303"/>
              <a:gd name="connsiteY499" fmla="*/ 952167 h 6905558"/>
              <a:gd name="connsiteX500" fmla="*/ 2891056 w 5118303"/>
              <a:gd name="connsiteY500" fmla="*/ 958613 h 6905558"/>
              <a:gd name="connsiteX501" fmla="*/ 2826943 w 5118303"/>
              <a:gd name="connsiteY501" fmla="*/ 952167 h 6905558"/>
              <a:gd name="connsiteX502" fmla="*/ 2571778 w 5118303"/>
              <a:gd name="connsiteY502" fmla="*/ 640186 h 6905558"/>
              <a:gd name="connsiteX503" fmla="*/ 2253716 w 5118303"/>
              <a:gd name="connsiteY503" fmla="*/ 958654 h 6905558"/>
              <a:gd name="connsiteX504" fmla="*/ 1941734 w 5118303"/>
              <a:gd name="connsiteY504" fmla="*/ 704253 h 6905558"/>
              <a:gd name="connsiteX505" fmla="*/ 1935248 w 5118303"/>
              <a:gd name="connsiteY505" fmla="*/ 640187 h 6905558"/>
              <a:gd name="connsiteX506" fmla="*/ 1941734 w 5118303"/>
              <a:gd name="connsiteY506" fmla="*/ 575583 h 6905558"/>
              <a:gd name="connsiteX507" fmla="*/ 2253716 w 5118303"/>
              <a:gd name="connsiteY507" fmla="*/ 320094 h 6905558"/>
              <a:gd name="connsiteX508" fmla="*/ 1935248 w 5118303"/>
              <a:gd name="connsiteY508" fmla="*/ 1626 h 6905558"/>
              <a:gd name="connsiteX509" fmla="*/ 1934840 w 5118303"/>
              <a:gd name="connsiteY509" fmla="*/ 5653 h 6905558"/>
              <a:gd name="connsiteX510" fmla="*/ 1934433 w 5118303"/>
              <a:gd name="connsiteY510" fmla="*/ 1626 h 6905558"/>
              <a:gd name="connsiteX511" fmla="*/ 1615154 w 5118303"/>
              <a:gd name="connsiteY511" fmla="*/ 320094 h 6905558"/>
              <a:gd name="connsiteX512" fmla="*/ 1296686 w 5118303"/>
              <a:gd name="connsiteY512" fmla="*/ 1626 h 6905558"/>
              <a:gd name="connsiteX513" fmla="*/ 1042285 w 5118303"/>
              <a:gd name="connsiteY513" fmla="*/ 313606 h 6905558"/>
              <a:gd name="connsiteX514" fmla="*/ 978219 w 5118303"/>
              <a:gd name="connsiteY514" fmla="*/ 320094 h 6905558"/>
              <a:gd name="connsiteX515" fmla="*/ 913682 w 5118303"/>
              <a:gd name="connsiteY515" fmla="*/ 313606 h 6905558"/>
              <a:gd name="connsiteX516" fmla="*/ 677819 w 5118303"/>
              <a:gd name="connsiteY516" fmla="*/ 110964 h 6905558"/>
              <a:gd name="connsiteX517" fmla="*/ 675256 w 5118303"/>
              <a:gd name="connsiteY517" fmla="*/ 101508 h 6905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</a:cxnLst>
            <a:rect l="l" t="t" r="r" b="b"/>
            <a:pathLst>
              <a:path w="5118303" h="6905558">
                <a:moveTo>
                  <a:pt x="4165274" y="6063894"/>
                </a:moveTo>
                <a:cubicBezTo>
                  <a:pt x="4342242" y="6063894"/>
                  <a:pt x="4485115" y="6206879"/>
                  <a:pt x="4485115" y="6382362"/>
                </a:cubicBezTo>
                <a:cubicBezTo>
                  <a:pt x="4485115" y="6393735"/>
                  <a:pt x="4485115" y="6405109"/>
                  <a:pt x="4486738" y="6416483"/>
                </a:cubicBezTo>
                <a:cubicBezTo>
                  <a:pt x="4486738" y="6418108"/>
                  <a:pt x="4486738" y="6419732"/>
                  <a:pt x="4486738" y="6422982"/>
                </a:cubicBezTo>
                <a:cubicBezTo>
                  <a:pt x="4486738" y="6424607"/>
                  <a:pt x="4486738" y="6426232"/>
                  <a:pt x="4488362" y="6427857"/>
                </a:cubicBezTo>
                <a:cubicBezTo>
                  <a:pt x="4488362" y="6429481"/>
                  <a:pt x="4488362" y="6429481"/>
                  <a:pt x="4488362" y="6429481"/>
                </a:cubicBezTo>
                <a:cubicBezTo>
                  <a:pt x="4488362" y="6439230"/>
                  <a:pt x="4491609" y="6447355"/>
                  <a:pt x="4493232" y="6455479"/>
                </a:cubicBezTo>
                <a:cubicBezTo>
                  <a:pt x="4493232" y="6457104"/>
                  <a:pt x="4493232" y="6457104"/>
                  <a:pt x="4493232" y="6458729"/>
                </a:cubicBezTo>
                <a:cubicBezTo>
                  <a:pt x="4493232" y="6458729"/>
                  <a:pt x="4493232" y="6458729"/>
                  <a:pt x="4493232" y="6460354"/>
                </a:cubicBezTo>
                <a:cubicBezTo>
                  <a:pt x="4527328" y="6598465"/>
                  <a:pt x="4653966" y="6702454"/>
                  <a:pt x="4803334" y="6702454"/>
                </a:cubicBezTo>
                <a:cubicBezTo>
                  <a:pt x="4955948" y="6702454"/>
                  <a:pt x="5082586" y="6595215"/>
                  <a:pt x="5113434" y="6453855"/>
                </a:cubicBezTo>
                <a:cubicBezTo>
                  <a:pt x="5113434" y="6453855"/>
                  <a:pt x="5113434" y="6452229"/>
                  <a:pt x="5115058" y="6452229"/>
                </a:cubicBezTo>
                <a:cubicBezTo>
                  <a:pt x="5115058" y="6450605"/>
                  <a:pt x="5115058" y="6450605"/>
                  <a:pt x="5115058" y="6450605"/>
                </a:cubicBezTo>
                <a:cubicBezTo>
                  <a:pt x="5115058" y="6448980"/>
                  <a:pt x="5115058" y="6447355"/>
                  <a:pt x="5115058" y="6445730"/>
                </a:cubicBezTo>
                <a:cubicBezTo>
                  <a:pt x="5115058" y="6445730"/>
                  <a:pt x="5115058" y="6444106"/>
                  <a:pt x="5115058" y="6444106"/>
                </a:cubicBezTo>
                <a:cubicBezTo>
                  <a:pt x="5116682" y="6442480"/>
                  <a:pt x="5116682" y="6439230"/>
                  <a:pt x="5116682" y="6437606"/>
                </a:cubicBezTo>
                <a:lnTo>
                  <a:pt x="5118303" y="6434361"/>
                </a:lnTo>
                <a:lnTo>
                  <a:pt x="5118303" y="6905558"/>
                </a:lnTo>
                <a:lnTo>
                  <a:pt x="2594410" y="6905558"/>
                </a:lnTo>
                <a:lnTo>
                  <a:pt x="2596252" y="6899415"/>
                </a:lnTo>
                <a:cubicBezTo>
                  <a:pt x="2642066" y="6787149"/>
                  <a:pt x="2749526" y="6707329"/>
                  <a:pt x="2876164" y="6702454"/>
                </a:cubicBezTo>
                <a:cubicBezTo>
                  <a:pt x="2881035" y="6702454"/>
                  <a:pt x="2885906" y="6702454"/>
                  <a:pt x="2890776" y="6702454"/>
                </a:cubicBezTo>
                <a:cubicBezTo>
                  <a:pt x="3028779" y="6702454"/>
                  <a:pt x="3147299" y="6613089"/>
                  <a:pt x="3191134" y="6489601"/>
                </a:cubicBezTo>
                <a:cubicBezTo>
                  <a:pt x="3191134" y="6487976"/>
                  <a:pt x="3192759" y="6484726"/>
                  <a:pt x="3192759" y="6483102"/>
                </a:cubicBezTo>
                <a:cubicBezTo>
                  <a:pt x="3192759" y="6481476"/>
                  <a:pt x="3194382" y="6481476"/>
                  <a:pt x="3194382" y="6479852"/>
                </a:cubicBezTo>
                <a:cubicBezTo>
                  <a:pt x="3194382" y="6478227"/>
                  <a:pt x="3194382" y="6476602"/>
                  <a:pt x="3196006" y="6474977"/>
                </a:cubicBezTo>
                <a:cubicBezTo>
                  <a:pt x="3196006" y="6474977"/>
                  <a:pt x="3196006" y="6473353"/>
                  <a:pt x="3196006" y="6473353"/>
                </a:cubicBezTo>
                <a:cubicBezTo>
                  <a:pt x="3197630" y="6468478"/>
                  <a:pt x="3199253" y="6463604"/>
                  <a:pt x="3199253" y="6458729"/>
                </a:cubicBezTo>
                <a:cubicBezTo>
                  <a:pt x="3199253" y="6458729"/>
                  <a:pt x="3200876" y="6458729"/>
                  <a:pt x="3200876" y="6458729"/>
                </a:cubicBezTo>
                <a:cubicBezTo>
                  <a:pt x="3200876" y="6455479"/>
                  <a:pt x="3200876" y="6453855"/>
                  <a:pt x="3202500" y="6450605"/>
                </a:cubicBezTo>
                <a:cubicBezTo>
                  <a:pt x="3202500" y="6450605"/>
                  <a:pt x="3202500" y="6448980"/>
                  <a:pt x="3202500" y="6447355"/>
                </a:cubicBezTo>
                <a:cubicBezTo>
                  <a:pt x="3202500" y="6447355"/>
                  <a:pt x="3202500" y="6445730"/>
                  <a:pt x="3202500" y="6445730"/>
                </a:cubicBezTo>
                <a:cubicBezTo>
                  <a:pt x="3202500" y="6445730"/>
                  <a:pt x="3202500" y="6444106"/>
                  <a:pt x="3202500" y="6444106"/>
                </a:cubicBezTo>
                <a:cubicBezTo>
                  <a:pt x="3204124" y="6442480"/>
                  <a:pt x="3204124" y="6439230"/>
                  <a:pt x="3204124" y="6437606"/>
                </a:cubicBezTo>
                <a:cubicBezTo>
                  <a:pt x="3204124" y="6435981"/>
                  <a:pt x="3204124" y="6434356"/>
                  <a:pt x="3205747" y="6434356"/>
                </a:cubicBezTo>
                <a:cubicBezTo>
                  <a:pt x="3205747" y="6432731"/>
                  <a:pt x="3205747" y="6431107"/>
                  <a:pt x="3205747" y="6429481"/>
                </a:cubicBezTo>
                <a:cubicBezTo>
                  <a:pt x="3205747" y="6427857"/>
                  <a:pt x="3205747" y="6427857"/>
                  <a:pt x="3205747" y="6427857"/>
                </a:cubicBezTo>
                <a:cubicBezTo>
                  <a:pt x="3205747" y="6426232"/>
                  <a:pt x="3205747" y="6424607"/>
                  <a:pt x="3207370" y="6422982"/>
                </a:cubicBezTo>
                <a:cubicBezTo>
                  <a:pt x="3207370" y="6421358"/>
                  <a:pt x="3207370" y="6418108"/>
                  <a:pt x="3207370" y="6416483"/>
                </a:cubicBezTo>
                <a:cubicBezTo>
                  <a:pt x="3208994" y="6405109"/>
                  <a:pt x="3208994" y="6393735"/>
                  <a:pt x="3208994" y="6382362"/>
                </a:cubicBezTo>
                <a:cubicBezTo>
                  <a:pt x="3208994" y="6393735"/>
                  <a:pt x="3210618" y="6405109"/>
                  <a:pt x="3210618" y="6416483"/>
                </a:cubicBezTo>
                <a:cubicBezTo>
                  <a:pt x="3210618" y="6418108"/>
                  <a:pt x="3212242" y="6419732"/>
                  <a:pt x="3212242" y="6422982"/>
                </a:cubicBezTo>
                <a:cubicBezTo>
                  <a:pt x="3212242" y="6424607"/>
                  <a:pt x="3212242" y="6426232"/>
                  <a:pt x="3212242" y="6427857"/>
                </a:cubicBezTo>
                <a:cubicBezTo>
                  <a:pt x="3212242" y="6429481"/>
                  <a:pt x="3212242" y="6429481"/>
                  <a:pt x="3212242" y="6429481"/>
                </a:cubicBezTo>
                <a:cubicBezTo>
                  <a:pt x="3213865" y="6439230"/>
                  <a:pt x="3215488" y="6447355"/>
                  <a:pt x="3218736" y="6457104"/>
                </a:cubicBezTo>
                <a:cubicBezTo>
                  <a:pt x="3218736" y="6457104"/>
                  <a:pt x="3218736" y="6458729"/>
                  <a:pt x="3218736" y="6458729"/>
                </a:cubicBezTo>
                <a:cubicBezTo>
                  <a:pt x="3252830" y="6598465"/>
                  <a:pt x="3377845" y="6702454"/>
                  <a:pt x="3528836" y="6702454"/>
                </a:cubicBezTo>
                <a:cubicBezTo>
                  <a:pt x="3668463" y="6702454"/>
                  <a:pt x="3788607" y="6611463"/>
                  <a:pt x="3830819" y="6484726"/>
                </a:cubicBezTo>
                <a:cubicBezTo>
                  <a:pt x="3830819" y="6484726"/>
                  <a:pt x="3830819" y="6483102"/>
                  <a:pt x="3830819" y="6483102"/>
                </a:cubicBezTo>
                <a:cubicBezTo>
                  <a:pt x="3832442" y="6479852"/>
                  <a:pt x="3832442" y="6476602"/>
                  <a:pt x="3834066" y="6471727"/>
                </a:cubicBezTo>
                <a:cubicBezTo>
                  <a:pt x="3834066" y="6471727"/>
                  <a:pt x="3834066" y="6470103"/>
                  <a:pt x="3834066" y="6468478"/>
                </a:cubicBezTo>
                <a:cubicBezTo>
                  <a:pt x="3835690" y="6465228"/>
                  <a:pt x="3837313" y="6461978"/>
                  <a:pt x="3837313" y="6458729"/>
                </a:cubicBezTo>
                <a:cubicBezTo>
                  <a:pt x="3837313" y="6457104"/>
                  <a:pt x="3838936" y="6455479"/>
                  <a:pt x="3838936" y="6453855"/>
                </a:cubicBezTo>
                <a:cubicBezTo>
                  <a:pt x="3838936" y="6450605"/>
                  <a:pt x="3840560" y="6447355"/>
                  <a:pt x="3840560" y="6445730"/>
                </a:cubicBezTo>
                <a:cubicBezTo>
                  <a:pt x="3840560" y="6444106"/>
                  <a:pt x="3840560" y="6444106"/>
                  <a:pt x="3840560" y="6444106"/>
                </a:cubicBezTo>
                <a:cubicBezTo>
                  <a:pt x="3840560" y="6442480"/>
                  <a:pt x="3842184" y="6439230"/>
                  <a:pt x="3842184" y="6437606"/>
                </a:cubicBezTo>
                <a:cubicBezTo>
                  <a:pt x="3842184" y="6435981"/>
                  <a:pt x="3842184" y="6434356"/>
                  <a:pt x="3842184" y="6434356"/>
                </a:cubicBezTo>
                <a:cubicBezTo>
                  <a:pt x="3842184" y="6432731"/>
                  <a:pt x="3843808" y="6431107"/>
                  <a:pt x="3843808" y="6429481"/>
                </a:cubicBezTo>
                <a:cubicBezTo>
                  <a:pt x="3843808" y="6427857"/>
                  <a:pt x="3843808" y="6427857"/>
                  <a:pt x="3843808" y="6427857"/>
                </a:cubicBezTo>
                <a:cubicBezTo>
                  <a:pt x="3843808" y="6426232"/>
                  <a:pt x="3843808" y="6424607"/>
                  <a:pt x="3843808" y="6422982"/>
                </a:cubicBezTo>
                <a:cubicBezTo>
                  <a:pt x="3843808" y="6419732"/>
                  <a:pt x="3845430" y="6418108"/>
                  <a:pt x="3845430" y="6416483"/>
                </a:cubicBezTo>
                <a:cubicBezTo>
                  <a:pt x="3845430" y="6405109"/>
                  <a:pt x="3847055" y="6393735"/>
                  <a:pt x="3847055" y="6382362"/>
                </a:cubicBezTo>
                <a:cubicBezTo>
                  <a:pt x="3847055" y="6206879"/>
                  <a:pt x="3989928" y="6063894"/>
                  <a:pt x="4165274" y="6063894"/>
                </a:cubicBezTo>
                <a:close/>
                <a:moveTo>
                  <a:pt x="1615155" y="6063894"/>
                </a:moveTo>
                <a:lnTo>
                  <a:pt x="1679758" y="6070314"/>
                </a:lnTo>
                <a:cubicBezTo>
                  <a:pt x="1825775" y="6099793"/>
                  <a:pt x="1935248" y="6227394"/>
                  <a:pt x="1935248" y="6382362"/>
                </a:cubicBezTo>
                <a:cubicBezTo>
                  <a:pt x="1935248" y="6227393"/>
                  <a:pt x="2044721" y="6099793"/>
                  <a:pt x="2189649" y="6070314"/>
                </a:cubicBezTo>
                <a:lnTo>
                  <a:pt x="2253217" y="6063944"/>
                </a:lnTo>
                <a:lnTo>
                  <a:pt x="2317198" y="6070314"/>
                </a:lnTo>
                <a:cubicBezTo>
                  <a:pt x="2462790" y="6099793"/>
                  <a:pt x="2570934" y="6227393"/>
                  <a:pt x="2570934" y="6382362"/>
                </a:cubicBezTo>
                <a:cubicBezTo>
                  <a:pt x="2570934" y="6557844"/>
                  <a:pt x="2429684" y="6700830"/>
                  <a:pt x="2252716" y="6700830"/>
                </a:cubicBezTo>
                <a:cubicBezTo>
                  <a:pt x="2385442" y="6700830"/>
                  <a:pt x="2498990" y="6781259"/>
                  <a:pt x="2547469" y="6896191"/>
                </a:cubicBezTo>
                <a:lnTo>
                  <a:pt x="2550367" y="6905558"/>
                </a:lnTo>
                <a:lnTo>
                  <a:pt x="681476" y="6905558"/>
                </a:lnTo>
                <a:lnTo>
                  <a:pt x="686425" y="6890708"/>
                </a:lnTo>
                <a:cubicBezTo>
                  <a:pt x="736352" y="6778518"/>
                  <a:pt x="848385" y="6700830"/>
                  <a:pt x="978683" y="6700830"/>
                </a:cubicBezTo>
                <a:cubicBezTo>
                  <a:pt x="1154037" y="6700830"/>
                  <a:pt x="1296919" y="6557844"/>
                  <a:pt x="1296919" y="6382362"/>
                </a:cubicBezTo>
                <a:cubicBezTo>
                  <a:pt x="1296919" y="6227393"/>
                  <a:pt x="1406313" y="6099793"/>
                  <a:pt x="1551135" y="6070314"/>
                </a:cubicBezTo>
                <a:close/>
                <a:moveTo>
                  <a:pt x="3527212" y="5425332"/>
                </a:moveTo>
                <a:cubicBezTo>
                  <a:pt x="3704181" y="5425332"/>
                  <a:pt x="3847055" y="5568318"/>
                  <a:pt x="3847055" y="5743800"/>
                </a:cubicBezTo>
                <a:cubicBezTo>
                  <a:pt x="3847055" y="5920908"/>
                  <a:pt x="3704181" y="6063894"/>
                  <a:pt x="3527212" y="6063894"/>
                </a:cubicBezTo>
                <a:cubicBezTo>
                  <a:pt x="3351868" y="6063894"/>
                  <a:pt x="3208994" y="5920908"/>
                  <a:pt x="3208994" y="5743800"/>
                </a:cubicBezTo>
                <a:cubicBezTo>
                  <a:pt x="3208994" y="5568318"/>
                  <a:pt x="3351868" y="5425332"/>
                  <a:pt x="3527212" y="5425332"/>
                </a:cubicBezTo>
                <a:close/>
                <a:moveTo>
                  <a:pt x="3886122" y="4953237"/>
                </a:moveTo>
                <a:lnTo>
                  <a:pt x="3855172" y="5032121"/>
                </a:lnTo>
                <a:cubicBezTo>
                  <a:pt x="3859232" y="5014451"/>
                  <a:pt x="3864762" y="4997366"/>
                  <a:pt x="3871628" y="4980993"/>
                </a:cubicBezTo>
                <a:close/>
                <a:moveTo>
                  <a:pt x="3892380" y="4941258"/>
                </a:moveTo>
                <a:lnTo>
                  <a:pt x="3886122" y="4953237"/>
                </a:lnTo>
                <a:lnTo>
                  <a:pt x="3889270" y="4945217"/>
                </a:lnTo>
                <a:close/>
                <a:moveTo>
                  <a:pt x="80164" y="4921172"/>
                </a:moveTo>
                <a:lnTo>
                  <a:pt x="43379" y="4996274"/>
                </a:lnTo>
                <a:lnTo>
                  <a:pt x="43030" y="4994023"/>
                </a:lnTo>
                <a:lnTo>
                  <a:pt x="55337" y="4962886"/>
                </a:lnTo>
                <a:close/>
                <a:moveTo>
                  <a:pt x="80721" y="4920235"/>
                </a:moveTo>
                <a:lnTo>
                  <a:pt x="80164" y="4921172"/>
                </a:lnTo>
                <a:lnTo>
                  <a:pt x="80523" y="4920439"/>
                </a:lnTo>
                <a:close/>
                <a:moveTo>
                  <a:pt x="3911160" y="4917344"/>
                </a:moveTo>
                <a:lnTo>
                  <a:pt x="3892380" y="4941258"/>
                </a:lnTo>
                <a:lnTo>
                  <a:pt x="3896092" y="4934149"/>
                </a:lnTo>
                <a:close/>
                <a:moveTo>
                  <a:pt x="3959594" y="4863332"/>
                </a:moveTo>
                <a:lnTo>
                  <a:pt x="3911160" y="4917344"/>
                </a:lnTo>
                <a:lnTo>
                  <a:pt x="3946018" y="4872962"/>
                </a:lnTo>
                <a:close/>
                <a:moveTo>
                  <a:pt x="3982262" y="4847251"/>
                </a:moveTo>
                <a:lnTo>
                  <a:pt x="3959594" y="4863332"/>
                </a:lnTo>
                <a:lnTo>
                  <a:pt x="3965778" y="4856435"/>
                </a:lnTo>
                <a:close/>
                <a:moveTo>
                  <a:pt x="4047608" y="4810844"/>
                </a:moveTo>
                <a:lnTo>
                  <a:pt x="3982262" y="4847251"/>
                </a:lnTo>
                <a:lnTo>
                  <a:pt x="4021033" y="4819748"/>
                </a:lnTo>
                <a:close/>
                <a:moveTo>
                  <a:pt x="4088522" y="4797134"/>
                </a:moveTo>
                <a:lnTo>
                  <a:pt x="4047608" y="4810844"/>
                </a:lnTo>
                <a:lnTo>
                  <a:pt x="4057687" y="4805228"/>
                </a:lnTo>
                <a:close/>
                <a:moveTo>
                  <a:pt x="4801710" y="4786771"/>
                </a:moveTo>
                <a:cubicBezTo>
                  <a:pt x="4946612" y="4786771"/>
                  <a:pt x="5070385" y="4882561"/>
                  <a:pt x="5107765" y="5014270"/>
                </a:cubicBezTo>
                <a:lnTo>
                  <a:pt x="5118303" y="5072732"/>
                </a:lnTo>
                <a:lnTo>
                  <a:pt x="5118303" y="5776308"/>
                </a:lnTo>
                <a:lnTo>
                  <a:pt x="5107765" y="5834839"/>
                </a:lnTo>
                <a:cubicBezTo>
                  <a:pt x="5070385" y="5966860"/>
                  <a:pt x="4946612" y="6063894"/>
                  <a:pt x="4801710" y="6063894"/>
                </a:cubicBezTo>
                <a:cubicBezTo>
                  <a:pt x="4626364" y="6063894"/>
                  <a:pt x="4483492" y="5920908"/>
                  <a:pt x="4483492" y="5743800"/>
                </a:cubicBezTo>
                <a:cubicBezTo>
                  <a:pt x="4483492" y="5568318"/>
                  <a:pt x="4626364" y="5425332"/>
                  <a:pt x="4803334" y="5425332"/>
                </a:cubicBezTo>
                <a:cubicBezTo>
                  <a:pt x="4629612" y="5425332"/>
                  <a:pt x="4488362" y="5287221"/>
                  <a:pt x="4483492" y="5114989"/>
                </a:cubicBezTo>
                <a:cubicBezTo>
                  <a:pt x="4483492" y="5113363"/>
                  <a:pt x="4481868" y="5110114"/>
                  <a:pt x="4481868" y="5106864"/>
                </a:cubicBezTo>
                <a:cubicBezTo>
                  <a:pt x="4481868" y="5105240"/>
                  <a:pt x="4481868" y="5105240"/>
                  <a:pt x="4481868" y="5105240"/>
                </a:cubicBezTo>
                <a:cubicBezTo>
                  <a:pt x="4481868" y="5105240"/>
                  <a:pt x="4483492" y="5105240"/>
                  <a:pt x="4483492" y="5105240"/>
                </a:cubicBezTo>
                <a:cubicBezTo>
                  <a:pt x="4483492" y="5103614"/>
                  <a:pt x="4483492" y="5101990"/>
                  <a:pt x="4483492" y="5100365"/>
                </a:cubicBezTo>
                <a:cubicBezTo>
                  <a:pt x="4485115" y="4926507"/>
                  <a:pt x="4627988" y="4786771"/>
                  <a:pt x="4801710" y="4786771"/>
                </a:cubicBezTo>
                <a:close/>
                <a:moveTo>
                  <a:pt x="334467" y="4786163"/>
                </a:moveTo>
                <a:lnTo>
                  <a:pt x="340450" y="4786757"/>
                </a:lnTo>
                <a:lnTo>
                  <a:pt x="340308" y="4786772"/>
                </a:lnTo>
                <a:lnTo>
                  <a:pt x="340478" y="4786789"/>
                </a:lnTo>
                <a:lnTo>
                  <a:pt x="237662" y="4803502"/>
                </a:lnTo>
                <a:cubicBezTo>
                  <a:pt x="205468" y="4814343"/>
                  <a:pt x="175684" y="4830134"/>
                  <a:pt x="149198" y="4849937"/>
                </a:cubicBezTo>
                <a:lnTo>
                  <a:pt x="80721" y="4920235"/>
                </a:lnTo>
                <a:lnTo>
                  <a:pt x="80751" y="4920185"/>
                </a:lnTo>
                <a:cubicBezTo>
                  <a:pt x="119008" y="4866109"/>
                  <a:pt x="174110" y="4824117"/>
                  <a:pt x="238346" y="4802132"/>
                </a:cubicBezTo>
                <a:close/>
                <a:moveTo>
                  <a:pt x="4156648" y="4785896"/>
                </a:moveTo>
                <a:lnTo>
                  <a:pt x="4165274" y="4786771"/>
                </a:lnTo>
                <a:cubicBezTo>
                  <a:pt x="4146400" y="4786771"/>
                  <a:pt x="4127906" y="4788396"/>
                  <a:pt x="4109930" y="4791516"/>
                </a:cubicBezTo>
                <a:lnTo>
                  <a:pt x="4088522" y="4797134"/>
                </a:lnTo>
                <a:lnTo>
                  <a:pt x="4109930" y="4789961"/>
                </a:lnTo>
                <a:close/>
                <a:moveTo>
                  <a:pt x="1296686" y="4468302"/>
                </a:moveTo>
                <a:cubicBezTo>
                  <a:pt x="1296686" y="4643785"/>
                  <a:pt x="1153700" y="4786771"/>
                  <a:pt x="978218" y="4786771"/>
                </a:cubicBezTo>
                <a:cubicBezTo>
                  <a:pt x="1153700" y="4786771"/>
                  <a:pt x="1296686" y="4929756"/>
                  <a:pt x="1296686" y="5105239"/>
                </a:cubicBezTo>
                <a:cubicBezTo>
                  <a:pt x="1296686" y="4929756"/>
                  <a:pt x="1439672" y="4786771"/>
                  <a:pt x="1615154" y="4786771"/>
                </a:cubicBezTo>
                <a:cubicBezTo>
                  <a:pt x="1792036" y="4786771"/>
                  <a:pt x="1934840" y="4929756"/>
                  <a:pt x="1934840" y="5105239"/>
                </a:cubicBezTo>
                <a:cubicBezTo>
                  <a:pt x="1934840" y="5106864"/>
                  <a:pt x="1934840" y="5106864"/>
                  <a:pt x="1934840" y="5106864"/>
                </a:cubicBezTo>
                <a:cubicBezTo>
                  <a:pt x="1934840" y="5282346"/>
                  <a:pt x="1792036" y="5425332"/>
                  <a:pt x="1616777" y="5425332"/>
                </a:cubicBezTo>
                <a:cubicBezTo>
                  <a:pt x="1792036" y="5425332"/>
                  <a:pt x="1934840" y="5568318"/>
                  <a:pt x="1934840" y="5743800"/>
                </a:cubicBezTo>
                <a:cubicBezTo>
                  <a:pt x="1934840" y="5568318"/>
                  <a:pt x="2077644" y="5425332"/>
                  <a:pt x="2252903" y="5425332"/>
                </a:cubicBezTo>
                <a:cubicBezTo>
                  <a:pt x="2429786" y="5425332"/>
                  <a:pt x="2570966" y="5568318"/>
                  <a:pt x="2570966" y="5743800"/>
                </a:cubicBezTo>
                <a:cubicBezTo>
                  <a:pt x="2570966" y="5568318"/>
                  <a:pt x="2713770" y="5425332"/>
                  <a:pt x="2890652" y="5425332"/>
                </a:cubicBezTo>
                <a:cubicBezTo>
                  <a:pt x="2713770" y="5425332"/>
                  <a:pt x="2570966" y="5282346"/>
                  <a:pt x="2570966" y="5105239"/>
                </a:cubicBezTo>
                <a:cubicBezTo>
                  <a:pt x="2570966" y="4929756"/>
                  <a:pt x="2713770" y="4786771"/>
                  <a:pt x="2890652" y="4786771"/>
                </a:cubicBezTo>
                <a:cubicBezTo>
                  <a:pt x="2713770" y="4786771"/>
                  <a:pt x="2570966" y="4643785"/>
                  <a:pt x="2570966" y="4468302"/>
                </a:cubicBezTo>
                <a:cubicBezTo>
                  <a:pt x="2570966" y="4643785"/>
                  <a:pt x="2429786" y="4786771"/>
                  <a:pt x="2252903" y="4786771"/>
                </a:cubicBezTo>
                <a:cubicBezTo>
                  <a:pt x="2077644" y="4786771"/>
                  <a:pt x="1934840" y="4643785"/>
                  <a:pt x="1934840" y="4468302"/>
                </a:cubicBezTo>
                <a:cubicBezTo>
                  <a:pt x="1934840" y="4643785"/>
                  <a:pt x="1792036" y="4786771"/>
                  <a:pt x="1615154" y="4786771"/>
                </a:cubicBezTo>
                <a:cubicBezTo>
                  <a:pt x="1439672" y="4786771"/>
                  <a:pt x="1296686" y="4643785"/>
                  <a:pt x="1296686" y="4468302"/>
                </a:cubicBezTo>
                <a:close/>
                <a:moveTo>
                  <a:pt x="340448" y="4148224"/>
                </a:moveTo>
                <a:lnTo>
                  <a:pt x="404310" y="4154700"/>
                </a:lnTo>
                <a:cubicBezTo>
                  <a:pt x="549090" y="4184490"/>
                  <a:pt x="658452" y="4313334"/>
                  <a:pt x="658452" y="4468304"/>
                </a:cubicBezTo>
                <a:cubicBezTo>
                  <a:pt x="658452" y="4621851"/>
                  <a:pt x="550334" y="4750518"/>
                  <a:pt x="404776" y="4780286"/>
                </a:cubicBezTo>
                <a:lnTo>
                  <a:pt x="340586" y="4786744"/>
                </a:lnTo>
                <a:lnTo>
                  <a:pt x="340586" y="4785146"/>
                </a:lnTo>
                <a:lnTo>
                  <a:pt x="334467" y="4786163"/>
                </a:lnTo>
                <a:lnTo>
                  <a:pt x="276030" y="4780354"/>
                </a:lnTo>
                <a:cubicBezTo>
                  <a:pt x="130120" y="4750898"/>
                  <a:pt x="20726" y="4623475"/>
                  <a:pt x="20726" y="4469928"/>
                </a:cubicBezTo>
                <a:cubicBezTo>
                  <a:pt x="20726" y="4466678"/>
                  <a:pt x="20726" y="4466678"/>
                  <a:pt x="20726" y="4466678"/>
                </a:cubicBezTo>
                <a:cubicBezTo>
                  <a:pt x="20726" y="4313132"/>
                  <a:pt x="131363" y="4184464"/>
                  <a:pt x="276496" y="4154697"/>
                </a:cubicBezTo>
                <a:close/>
                <a:moveTo>
                  <a:pt x="4165274" y="4148210"/>
                </a:moveTo>
                <a:cubicBezTo>
                  <a:pt x="4342242" y="4148210"/>
                  <a:pt x="4485115" y="4291196"/>
                  <a:pt x="4485115" y="4468302"/>
                </a:cubicBezTo>
                <a:cubicBezTo>
                  <a:pt x="4485115" y="4643785"/>
                  <a:pt x="4342242" y="4786771"/>
                  <a:pt x="4165274" y="4786771"/>
                </a:cubicBezTo>
                <a:cubicBezTo>
                  <a:pt x="4165274" y="4786771"/>
                  <a:pt x="4165274" y="4785146"/>
                  <a:pt x="4165274" y="4785146"/>
                </a:cubicBezTo>
                <a:lnTo>
                  <a:pt x="4156648" y="4785896"/>
                </a:lnTo>
                <a:lnTo>
                  <a:pt x="4101258" y="4780285"/>
                </a:lnTo>
                <a:cubicBezTo>
                  <a:pt x="3956442" y="4750516"/>
                  <a:pt x="3847055" y="4621850"/>
                  <a:pt x="3847055" y="4468302"/>
                </a:cubicBezTo>
                <a:cubicBezTo>
                  <a:pt x="3847055" y="4291196"/>
                  <a:pt x="3989928" y="4148210"/>
                  <a:pt x="4165274" y="4148210"/>
                </a:cubicBezTo>
                <a:close/>
                <a:moveTo>
                  <a:pt x="4165274" y="3511274"/>
                </a:moveTo>
                <a:cubicBezTo>
                  <a:pt x="4342242" y="3511274"/>
                  <a:pt x="4485115" y="3654259"/>
                  <a:pt x="4485115" y="3829742"/>
                </a:cubicBezTo>
                <a:cubicBezTo>
                  <a:pt x="4485115" y="4006849"/>
                  <a:pt x="4342242" y="4148210"/>
                  <a:pt x="4165274" y="4148210"/>
                </a:cubicBezTo>
                <a:cubicBezTo>
                  <a:pt x="3989928" y="4148210"/>
                  <a:pt x="3847055" y="4006849"/>
                  <a:pt x="3847055" y="3829742"/>
                </a:cubicBezTo>
                <a:cubicBezTo>
                  <a:pt x="3847055" y="3654259"/>
                  <a:pt x="3989928" y="3511274"/>
                  <a:pt x="4165274" y="3511274"/>
                </a:cubicBezTo>
                <a:close/>
                <a:moveTo>
                  <a:pt x="3528836" y="3511274"/>
                </a:moveTo>
                <a:cubicBezTo>
                  <a:pt x="3704181" y="3511274"/>
                  <a:pt x="3847055" y="3654259"/>
                  <a:pt x="3847055" y="3829742"/>
                </a:cubicBezTo>
                <a:cubicBezTo>
                  <a:pt x="3847055" y="4005224"/>
                  <a:pt x="3704181" y="4148210"/>
                  <a:pt x="3528836" y="4148210"/>
                </a:cubicBezTo>
                <a:cubicBezTo>
                  <a:pt x="3704181" y="4149834"/>
                  <a:pt x="3847055" y="4291196"/>
                  <a:pt x="3847055" y="4468302"/>
                </a:cubicBezTo>
                <a:cubicBezTo>
                  <a:pt x="3847055" y="4643785"/>
                  <a:pt x="3704181" y="4786771"/>
                  <a:pt x="3527212" y="4786771"/>
                </a:cubicBezTo>
                <a:cubicBezTo>
                  <a:pt x="3351868" y="4786771"/>
                  <a:pt x="3208994" y="4643785"/>
                  <a:pt x="3208994" y="4468302"/>
                </a:cubicBezTo>
                <a:cubicBezTo>
                  <a:pt x="3208994" y="4291196"/>
                  <a:pt x="3351868" y="4149834"/>
                  <a:pt x="3527212" y="4148210"/>
                </a:cubicBezTo>
                <a:cubicBezTo>
                  <a:pt x="3351868" y="4148210"/>
                  <a:pt x="3208994" y="4005224"/>
                  <a:pt x="3208994" y="3829742"/>
                </a:cubicBezTo>
                <a:cubicBezTo>
                  <a:pt x="3208994" y="3654259"/>
                  <a:pt x="3351868" y="3511274"/>
                  <a:pt x="3528836" y="3511274"/>
                </a:cubicBezTo>
                <a:close/>
                <a:moveTo>
                  <a:pt x="340308" y="3511274"/>
                </a:moveTo>
                <a:cubicBezTo>
                  <a:pt x="515612" y="3511274"/>
                  <a:pt x="658452" y="3654259"/>
                  <a:pt x="658452" y="3829742"/>
                </a:cubicBezTo>
                <a:cubicBezTo>
                  <a:pt x="658452" y="3984711"/>
                  <a:pt x="549090" y="4112311"/>
                  <a:pt x="404310" y="4141790"/>
                </a:cubicBezTo>
                <a:lnTo>
                  <a:pt x="340448" y="4148196"/>
                </a:lnTo>
                <a:lnTo>
                  <a:pt x="276100" y="4141723"/>
                </a:lnTo>
                <a:cubicBezTo>
                  <a:pt x="130500" y="4111956"/>
                  <a:pt x="22350" y="3983289"/>
                  <a:pt x="22350" y="3829742"/>
                </a:cubicBezTo>
                <a:cubicBezTo>
                  <a:pt x="22350" y="3851677"/>
                  <a:pt x="20118" y="3873105"/>
                  <a:pt x="15868" y="3893809"/>
                </a:cubicBezTo>
                <a:lnTo>
                  <a:pt x="0" y="3944810"/>
                </a:lnTo>
                <a:lnTo>
                  <a:pt x="5851" y="3870799"/>
                </a:lnTo>
                <a:lnTo>
                  <a:pt x="16862" y="3776608"/>
                </a:lnTo>
                <a:lnTo>
                  <a:pt x="22165" y="3829742"/>
                </a:lnTo>
                <a:cubicBezTo>
                  <a:pt x="22165" y="3654259"/>
                  <a:pt x="165004" y="3511274"/>
                  <a:pt x="340308" y="3511274"/>
                </a:cubicBezTo>
                <a:close/>
                <a:moveTo>
                  <a:pt x="2252716" y="2872713"/>
                </a:moveTo>
                <a:cubicBezTo>
                  <a:pt x="2429684" y="2872713"/>
                  <a:pt x="2570934" y="3015698"/>
                  <a:pt x="2570934" y="3191181"/>
                </a:cubicBezTo>
                <a:cubicBezTo>
                  <a:pt x="2570934" y="3368288"/>
                  <a:pt x="2429684" y="3511274"/>
                  <a:pt x="2252716" y="3511274"/>
                </a:cubicBezTo>
                <a:cubicBezTo>
                  <a:pt x="2077370" y="3511274"/>
                  <a:pt x="1934497" y="3368288"/>
                  <a:pt x="1934497" y="3191181"/>
                </a:cubicBezTo>
                <a:cubicBezTo>
                  <a:pt x="1934497" y="3015698"/>
                  <a:pt x="2077370" y="2872713"/>
                  <a:pt x="2252716" y="2872713"/>
                </a:cubicBezTo>
                <a:close/>
                <a:moveTo>
                  <a:pt x="978219" y="2234152"/>
                </a:moveTo>
                <a:lnTo>
                  <a:pt x="1042235" y="2240642"/>
                </a:lnTo>
                <a:cubicBezTo>
                  <a:pt x="1187050" y="2270431"/>
                  <a:pt x="1296436" y="2399276"/>
                  <a:pt x="1296436" y="2554244"/>
                </a:cubicBezTo>
                <a:cubicBezTo>
                  <a:pt x="1296436" y="2729727"/>
                  <a:pt x="1153563" y="2872713"/>
                  <a:pt x="978218" y="2872713"/>
                </a:cubicBezTo>
                <a:cubicBezTo>
                  <a:pt x="1153563" y="2872713"/>
                  <a:pt x="1296436" y="3015698"/>
                  <a:pt x="1296436" y="3191181"/>
                </a:cubicBezTo>
                <a:cubicBezTo>
                  <a:pt x="1296436" y="3368288"/>
                  <a:pt x="1153563" y="3511274"/>
                  <a:pt x="978218" y="3511274"/>
                </a:cubicBezTo>
                <a:cubicBezTo>
                  <a:pt x="1153563" y="3511274"/>
                  <a:pt x="1296436" y="3654259"/>
                  <a:pt x="1296436" y="3829742"/>
                </a:cubicBezTo>
                <a:cubicBezTo>
                  <a:pt x="1296436" y="3652634"/>
                  <a:pt x="1440934" y="3511274"/>
                  <a:pt x="1616279" y="3511274"/>
                </a:cubicBezTo>
                <a:cubicBezTo>
                  <a:pt x="1791623" y="3511274"/>
                  <a:pt x="1936120" y="3654259"/>
                  <a:pt x="1936120" y="3829742"/>
                </a:cubicBezTo>
                <a:cubicBezTo>
                  <a:pt x="1936120" y="4006849"/>
                  <a:pt x="1791623" y="4148210"/>
                  <a:pt x="1616279" y="4148210"/>
                </a:cubicBezTo>
                <a:cubicBezTo>
                  <a:pt x="1791623" y="4148210"/>
                  <a:pt x="1934497" y="4291196"/>
                  <a:pt x="1934497" y="4466678"/>
                </a:cubicBezTo>
                <a:cubicBezTo>
                  <a:pt x="1934497" y="4291196"/>
                  <a:pt x="2077370" y="4148210"/>
                  <a:pt x="2252716" y="4148210"/>
                </a:cubicBezTo>
                <a:cubicBezTo>
                  <a:pt x="2429684" y="4148210"/>
                  <a:pt x="2572557" y="4291196"/>
                  <a:pt x="2572557" y="4468302"/>
                </a:cubicBezTo>
                <a:cubicBezTo>
                  <a:pt x="2572557" y="4291196"/>
                  <a:pt x="2713807" y="4148210"/>
                  <a:pt x="2890776" y="4148210"/>
                </a:cubicBezTo>
                <a:cubicBezTo>
                  <a:pt x="3066121" y="4148210"/>
                  <a:pt x="3208994" y="4291196"/>
                  <a:pt x="3208994" y="4468302"/>
                </a:cubicBezTo>
                <a:cubicBezTo>
                  <a:pt x="3208994" y="4643785"/>
                  <a:pt x="3066121" y="4786771"/>
                  <a:pt x="2890776" y="4786771"/>
                </a:cubicBezTo>
                <a:cubicBezTo>
                  <a:pt x="3066121" y="4786771"/>
                  <a:pt x="3208994" y="4929756"/>
                  <a:pt x="3208994" y="5105240"/>
                </a:cubicBezTo>
                <a:cubicBezTo>
                  <a:pt x="3208994" y="5282346"/>
                  <a:pt x="3066121" y="5425332"/>
                  <a:pt x="2890776" y="5425332"/>
                </a:cubicBezTo>
                <a:cubicBezTo>
                  <a:pt x="3066121" y="5425332"/>
                  <a:pt x="3208994" y="5568318"/>
                  <a:pt x="3208994" y="5743800"/>
                </a:cubicBezTo>
                <a:cubicBezTo>
                  <a:pt x="3208994" y="5920908"/>
                  <a:pt x="3066121" y="6063894"/>
                  <a:pt x="2890776" y="6063894"/>
                </a:cubicBezTo>
                <a:cubicBezTo>
                  <a:pt x="2713807" y="6063894"/>
                  <a:pt x="2570934" y="5920908"/>
                  <a:pt x="2570934" y="5743800"/>
                </a:cubicBezTo>
                <a:cubicBezTo>
                  <a:pt x="2570934" y="5898769"/>
                  <a:pt x="2462790" y="6027614"/>
                  <a:pt x="2317198" y="6057405"/>
                </a:cubicBezTo>
                <a:lnTo>
                  <a:pt x="2253234" y="6063841"/>
                </a:lnTo>
                <a:lnTo>
                  <a:pt x="2189649" y="6056938"/>
                </a:lnTo>
                <a:cubicBezTo>
                  <a:pt x="2044721" y="6026369"/>
                  <a:pt x="1935248" y="5898769"/>
                  <a:pt x="1935248" y="5743800"/>
                </a:cubicBezTo>
                <a:cubicBezTo>
                  <a:pt x="1935248" y="5898769"/>
                  <a:pt x="1825775" y="6027614"/>
                  <a:pt x="1679758" y="6057405"/>
                </a:cubicBezTo>
                <a:lnTo>
                  <a:pt x="1615155" y="6063894"/>
                </a:lnTo>
                <a:lnTo>
                  <a:pt x="1551135" y="6057405"/>
                </a:lnTo>
                <a:cubicBezTo>
                  <a:pt x="1406313" y="6027614"/>
                  <a:pt x="1296919" y="5898769"/>
                  <a:pt x="1296919" y="5743800"/>
                </a:cubicBezTo>
                <a:cubicBezTo>
                  <a:pt x="1296919" y="5920908"/>
                  <a:pt x="1154037" y="6063894"/>
                  <a:pt x="978683" y="6063894"/>
                </a:cubicBezTo>
                <a:cubicBezTo>
                  <a:pt x="801704" y="6063894"/>
                  <a:pt x="658823" y="5920908"/>
                  <a:pt x="658823" y="5743800"/>
                </a:cubicBezTo>
                <a:cubicBezTo>
                  <a:pt x="658823" y="5590254"/>
                  <a:pt x="768216" y="5461586"/>
                  <a:pt x="914127" y="5431819"/>
                </a:cubicBezTo>
                <a:lnTo>
                  <a:pt x="978449" y="5425356"/>
                </a:lnTo>
                <a:lnTo>
                  <a:pt x="1042285" y="5431819"/>
                </a:lnTo>
                <a:cubicBezTo>
                  <a:pt x="1187213" y="5461586"/>
                  <a:pt x="1296686" y="5590254"/>
                  <a:pt x="1296686" y="5743800"/>
                </a:cubicBezTo>
                <a:cubicBezTo>
                  <a:pt x="1296686" y="5568318"/>
                  <a:pt x="1439672" y="5425332"/>
                  <a:pt x="1615154" y="5425332"/>
                </a:cubicBezTo>
                <a:cubicBezTo>
                  <a:pt x="1439672" y="5425332"/>
                  <a:pt x="1296686" y="5282346"/>
                  <a:pt x="1296686" y="5106864"/>
                </a:cubicBezTo>
                <a:cubicBezTo>
                  <a:pt x="1296686" y="5260411"/>
                  <a:pt x="1187213" y="5389078"/>
                  <a:pt x="1042285" y="5418846"/>
                </a:cubicBezTo>
                <a:lnTo>
                  <a:pt x="978450" y="5425309"/>
                </a:lnTo>
                <a:lnTo>
                  <a:pt x="914127" y="5418843"/>
                </a:lnTo>
                <a:cubicBezTo>
                  <a:pt x="768216" y="5389052"/>
                  <a:pt x="658823" y="5260209"/>
                  <a:pt x="658823" y="5105240"/>
                </a:cubicBezTo>
                <a:lnTo>
                  <a:pt x="658638" y="5103399"/>
                </a:lnTo>
                <a:lnTo>
                  <a:pt x="664936" y="5041174"/>
                </a:lnTo>
                <a:cubicBezTo>
                  <a:pt x="694695" y="4896245"/>
                  <a:pt x="823409" y="4786772"/>
                  <a:pt x="978219" y="4786772"/>
                </a:cubicBezTo>
                <a:cubicBezTo>
                  <a:pt x="801292" y="4786772"/>
                  <a:pt x="658452" y="4643786"/>
                  <a:pt x="658452" y="4468304"/>
                </a:cubicBezTo>
                <a:cubicBezTo>
                  <a:pt x="658452" y="4313334"/>
                  <a:pt x="767814" y="4184490"/>
                  <a:pt x="913682" y="4154700"/>
                </a:cubicBezTo>
                <a:lnTo>
                  <a:pt x="978219" y="4148210"/>
                </a:lnTo>
                <a:lnTo>
                  <a:pt x="1042285" y="4154697"/>
                </a:lnTo>
                <a:cubicBezTo>
                  <a:pt x="1187213" y="4184464"/>
                  <a:pt x="1296686" y="4313132"/>
                  <a:pt x="1296686" y="4466678"/>
                </a:cubicBezTo>
                <a:cubicBezTo>
                  <a:pt x="1296686" y="4291196"/>
                  <a:pt x="1439672" y="4148210"/>
                  <a:pt x="1615154" y="4148210"/>
                </a:cubicBezTo>
                <a:cubicBezTo>
                  <a:pt x="1439672" y="4148210"/>
                  <a:pt x="1296686" y="4006849"/>
                  <a:pt x="1296686" y="3831366"/>
                </a:cubicBezTo>
                <a:cubicBezTo>
                  <a:pt x="1296686" y="3984914"/>
                  <a:pt x="1187213" y="4112337"/>
                  <a:pt x="1042285" y="4141794"/>
                </a:cubicBezTo>
                <a:lnTo>
                  <a:pt x="978219" y="4148210"/>
                </a:lnTo>
                <a:lnTo>
                  <a:pt x="913682" y="4141790"/>
                </a:lnTo>
                <a:cubicBezTo>
                  <a:pt x="767814" y="4112311"/>
                  <a:pt x="658452" y="3984711"/>
                  <a:pt x="658452" y="3829742"/>
                </a:cubicBezTo>
                <a:cubicBezTo>
                  <a:pt x="658452" y="3654259"/>
                  <a:pt x="801292" y="3511274"/>
                  <a:pt x="976596" y="3511274"/>
                </a:cubicBezTo>
                <a:cubicBezTo>
                  <a:pt x="801292" y="3511274"/>
                  <a:pt x="660075" y="3368288"/>
                  <a:pt x="658452" y="3192806"/>
                </a:cubicBezTo>
                <a:cubicBezTo>
                  <a:pt x="658452" y="3192806"/>
                  <a:pt x="658452" y="3192806"/>
                  <a:pt x="658452" y="3191181"/>
                </a:cubicBezTo>
                <a:cubicBezTo>
                  <a:pt x="660075" y="3015699"/>
                  <a:pt x="801292" y="2872713"/>
                  <a:pt x="978219" y="2872713"/>
                </a:cubicBezTo>
                <a:cubicBezTo>
                  <a:pt x="845524" y="2872713"/>
                  <a:pt x="732003" y="2792284"/>
                  <a:pt x="683536" y="2678038"/>
                </a:cubicBezTo>
                <a:lnTo>
                  <a:pt x="670490" y="2636147"/>
                </a:lnTo>
                <a:lnTo>
                  <a:pt x="672940" y="2462187"/>
                </a:lnTo>
                <a:lnTo>
                  <a:pt x="677819" y="2444056"/>
                </a:lnTo>
                <a:cubicBezTo>
                  <a:pt x="715415" y="2341045"/>
                  <a:pt x="804281" y="2262984"/>
                  <a:pt x="913682" y="2240642"/>
                </a:cubicBezTo>
                <a:close/>
                <a:moveTo>
                  <a:pt x="2253716" y="1597216"/>
                </a:moveTo>
                <a:cubicBezTo>
                  <a:pt x="2430597" y="1597216"/>
                  <a:pt x="2571778" y="1740201"/>
                  <a:pt x="2571778" y="1915684"/>
                </a:cubicBezTo>
                <a:cubicBezTo>
                  <a:pt x="2571778" y="1740201"/>
                  <a:pt x="2714582" y="1597216"/>
                  <a:pt x="2891463" y="1597216"/>
                </a:cubicBezTo>
                <a:cubicBezTo>
                  <a:pt x="3066723" y="1597216"/>
                  <a:pt x="3209526" y="1740201"/>
                  <a:pt x="3209526" y="1915684"/>
                </a:cubicBezTo>
                <a:cubicBezTo>
                  <a:pt x="3209526" y="1740201"/>
                  <a:pt x="3352330" y="1597216"/>
                  <a:pt x="3527588" y="1597216"/>
                </a:cubicBezTo>
                <a:cubicBezTo>
                  <a:pt x="3638167" y="1597216"/>
                  <a:pt x="3735432" y="1653069"/>
                  <a:pt x="3792829" y="1737802"/>
                </a:cubicBezTo>
                <a:lnTo>
                  <a:pt x="3801004" y="1752822"/>
                </a:lnTo>
                <a:lnTo>
                  <a:pt x="3822272" y="1791891"/>
                </a:lnTo>
                <a:cubicBezTo>
                  <a:pt x="3838426" y="1829973"/>
                  <a:pt x="3847355" y="1871813"/>
                  <a:pt x="3847355" y="1915684"/>
                </a:cubicBezTo>
                <a:cubicBezTo>
                  <a:pt x="3847355" y="2091166"/>
                  <a:pt x="3704514" y="2234152"/>
                  <a:pt x="3527588" y="2234152"/>
                </a:cubicBezTo>
                <a:cubicBezTo>
                  <a:pt x="3616052" y="2234152"/>
                  <a:pt x="3695994" y="2269898"/>
                  <a:pt x="3753820" y="2327784"/>
                </a:cubicBezTo>
                <a:lnTo>
                  <a:pt x="3792829" y="2375135"/>
                </a:lnTo>
                <a:lnTo>
                  <a:pt x="3822272" y="2429513"/>
                </a:lnTo>
                <a:cubicBezTo>
                  <a:pt x="3838426" y="2467823"/>
                  <a:pt x="3847355" y="2509968"/>
                  <a:pt x="3847355" y="2554244"/>
                </a:cubicBezTo>
                <a:cubicBezTo>
                  <a:pt x="3847355" y="2377137"/>
                  <a:pt x="3990194" y="2234152"/>
                  <a:pt x="4165498" y="2234152"/>
                </a:cubicBezTo>
                <a:cubicBezTo>
                  <a:pt x="4253962" y="2234152"/>
                  <a:pt x="4333497" y="2269898"/>
                  <a:pt x="4391120" y="2327784"/>
                </a:cubicBezTo>
                <a:lnTo>
                  <a:pt x="4428390" y="2373145"/>
                </a:lnTo>
                <a:lnTo>
                  <a:pt x="4430025" y="2375135"/>
                </a:lnTo>
                <a:cubicBezTo>
                  <a:pt x="4464416" y="2426212"/>
                  <a:pt x="4484656" y="2487829"/>
                  <a:pt x="4485264" y="2554244"/>
                </a:cubicBezTo>
                <a:cubicBezTo>
                  <a:pt x="4485264" y="2377137"/>
                  <a:pt x="4626480" y="2235776"/>
                  <a:pt x="4803407" y="2234152"/>
                </a:cubicBezTo>
                <a:cubicBezTo>
                  <a:pt x="4714944" y="2234152"/>
                  <a:pt x="4635408" y="2198405"/>
                  <a:pt x="4577988" y="2140723"/>
                </a:cubicBezTo>
                <a:lnTo>
                  <a:pt x="4539276" y="2093565"/>
                </a:lnTo>
                <a:lnTo>
                  <a:pt x="4510094" y="2039476"/>
                </a:lnTo>
                <a:cubicBezTo>
                  <a:pt x="4494090" y="2001394"/>
                  <a:pt x="4485264" y="1959555"/>
                  <a:pt x="4485264" y="1915684"/>
                </a:cubicBezTo>
                <a:cubicBezTo>
                  <a:pt x="4485264" y="1740201"/>
                  <a:pt x="4626480" y="1597216"/>
                  <a:pt x="4801784" y="1597216"/>
                </a:cubicBezTo>
                <a:lnTo>
                  <a:pt x="4896864" y="1612829"/>
                </a:lnTo>
                <a:lnTo>
                  <a:pt x="4909876" y="1616576"/>
                </a:lnTo>
                <a:lnTo>
                  <a:pt x="4987828" y="1657740"/>
                </a:lnTo>
                <a:lnTo>
                  <a:pt x="5000802" y="1667499"/>
                </a:lnTo>
                <a:lnTo>
                  <a:pt x="5061182" y="1730098"/>
                </a:lnTo>
                <a:lnTo>
                  <a:pt x="5078932" y="1758352"/>
                </a:lnTo>
                <a:lnTo>
                  <a:pt x="5087854" y="1773720"/>
                </a:lnTo>
                <a:lnTo>
                  <a:pt x="5107764" y="1824708"/>
                </a:lnTo>
                <a:lnTo>
                  <a:pt x="5107766" y="1824714"/>
                </a:lnTo>
                <a:lnTo>
                  <a:pt x="5118303" y="1883181"/>
                </a:lnTo>
                <a:lnTo>
                  <a:pt x="5118303" y="3223689"/>
                </a:lnTo>
                <a:lnTo>
                  <a:pt x="5107834" y="3282219"/>
                </a:lnTo>
                <a:cubicBezTo>
                  <a:pt x="5070764" y="3414240"/>
                  <a:pt x="4948236" y="3511274"/>
                  <a:pt x="4803334" y="3511274"/>
                </a:cubicBezTo>
                <a:cubicBezTo>
                  <a:pt x="4629612" y="3511274"/>
                  <a:pt x="4488362" y="3373162"/>
                  <a:pt x="4483492" y="3202555"/>
                </a:cubicBezTo>
                <a:cubicBezTo>
                  <a:pt x="4483492" y="3199305"/>
                  <a:pt x="4481868" y="3196055"/>
                  <a:pt x="4481868" y="3192806"/>
                </a:cubicBezTo>
                <a:cubicBezTo>
                  <a:pt x="4481868" y="3191181"/>
                  <a:pt x="4481868" y="3191181"/>
                  <a:pt x="4481868" y="3191181"/>
                </a:cubicBezTo>
                <a:cubicBezTo>
                  <a:pt x="4481868" y="3187932"/>
                  <a:pt x="4483492" y="3184681"/>
                  <a:pt x="4483492" y="3181431"/>
                </a:cubicBezTo>
                <a:cubicBezTo>
                  <a:pt x="4488362" y="3010824"/>
                  <a:pt x="4629612" y="2872713"/>
                  <a:pt x="4801710" y="2872713"/>
                </a:cubicBezTo>
                <a:cubicBezTo>
                  <a:pt x="4626364" y="2872713"/>
                  <a:pt x="4483492" y="2731352"/>
                  <a:pt x="4483492" y="2554244"/>
                </a:cubicBezTo>
                <a:cubicBezTo>
                  <a:pt x="4483492" y="2731352"/>
                  <a:pt x="4342242" y="2874338"/>
                  <a:pt x="4165274" y="2874338"/>
                </a:cubicBezTo>
                <a:cubicBezTo>
                  <a:pt x="3989928" y="2874338"/>
                  <a:pt x="3847055" y="2731352"/>
                  <a:pt x="3847055" y="2554244"/>
                </a:cubicBezTo>
                <a:cubicBezTo>
                  <a:pt x="3847055" y="2709213"/>
                  <a:pt x="3737668" y="2836813"/>
                  <a:pt x="3591764" y="2866293"/>
                </a:cubicBezTo>
                <a:lnTo>
                  <a:pt x="3527402" y="2872694"/>
                </a:lnTo>
                <a:lnTo>
                  <a:pt x="3463522" y="2866226"/>
                </a:lnTo>
                <a:cubicBezTo>
                  <a:pt x="3336710" y="2840180"/>
                  <a:pt x="3237042" y="2738413"/>
                  <a:pt x="3214108" y="2610514"/>
                </a:cubicBezTo>
                <a:lnTo>
                  <a:pt x="3209120" y="2554245"/>
                </a:lnTo>
                <a:lnTo>
                  <a:pt x="3215607" y="2489642"/>
                </a:lnTo>
                <a:cubicBezTo>
                  <a:pt x="3245374" y="2343625"/>
                  <a:pt x="3374042" y="2234153"/>
                  <a:pt x="3527588" y="2234153"/>
                </a:cubicBezTo>
                <a:cubicBezTo>
                  <a:pt x="3352106" y="2234153"/>
                  <a:pt x="3209120" y="2091166"/>
                  <a:pt x="3209120" y="1915684"/>
                </a:cubicBezTo>
                <a:cubicBezTo>
                  <a:pt x="3209120" y="2091166"/>
                  <a:pt x="3066134" y="2234153"/>
                  <a:pt x="2890652" y="2234153"/>
                </a:cubicBezTo>
                <a:cubicBezTo>
                  <a:pt x="2713995" y="2234153"/>
                  <a:pt x="2571374" y="2091166"/>
                  <a:pt x="2571374" y="1915684"/>
                </a:cubicBezTo>
                <a:cubicBezTo>
                  <a:pt x="2571374" y="2091166"/>
                  <a:pt x="2430372" y="2234153"/>
                  <a:pt x="2253716" y="2234153"/>
                </a:cubicBezTo>
                <a:cubicBezTo>
                  <a:pt x="2078233" y="2234153"/>
                  <a:pt x="1935248" y="2091166"/>
                  <a:pt x="1935248" y="1915684"/>
                </a:cubicBezTo>
                <a:cubicBezTo>
                  <a:pt x="1935248" y="1740201"/>
                  <a:pt x="2078233" y="1597216"/>
                  <a:pt x="2253716" y="1597216"/>
                </a:cubicBezTo>
                <a:close/>
                <a:moveTo>
                  <a:pt x="978219" y="1597216"/>
                </a:moveTo>
                <a:lnTo>
                  <a:pt x="1042235" y="1603703"/>
                </a:lnTo>
                <a:cubicBezTo>
                  <a:pt x="1187050" y="1633470"/>
                  <a:pt x="1296436" y="1762136"/>
                  <a:pt x="1296436" y="1915684"/>
                </a:cubicBezTo>
                <a:cubicBezTo>
                  <a:pt x="1296436" y="2069231"/>
                  <a:pt x="1187050" y="2197898"/>
                  <a:pt x="1042235" y="2227666"/>
                </a:cubicBezTo>
                <a:lnTo>
                  <a:pt x="978219" y="2234152"/>
                </a:lnTo>
                <a:lnTo>
                  <a:pt x="913682" y="2227666"/>
                </a:lnTo>
                <a:cubicBezTo>
                  <a:pt x="804281" y="2205340"/>
                  <a:pt x="715415" y="2127383"/>
                  <a:pt x="677819" y="2025023"/>
                </a:cubicBezTo>
                <a:lnTo>
                  <a:pt x="675256" y="2015566"/>
                </a:lnTo>
                <a:lnTo>
                  <a:pt x="675256" y="1815802"/>
                </a:lnTo>
                <a:lnTo>
                  <a:pt x="677819" y="1806345"/>
                </a:lnTo>
                <a:cubicBezTo>
                  <a:pt x="715415" y="1703984"/>
                  <a:pt x="804281" y="1626028"/>
                  <a:pt x="913682" y="1603703"/>
                </a:cubicBezTo>
                <a:close/>
                <a:moveTo>
                  <a:pt x="3527588" y="958654"/>
                </a:moveTo>
                <a:cubicBezTo>
                  <a:pt x="3704696" y="958654"/>
                  <a:pt x="3847682" y="1101640"/>
                  <a:pt x="3847682" y="1277122"/>
                </a:cubicBezTo>
                <a:cubicBezTo>
                  <a:pt x="3847682" y="1123575"/>
                  <a:pt x="3957155" y="994908"/>
                  <a:pt x="4102083" y="965141"/>
                </a:cubicBezTo>
                <a:lnTo>
                  <a:pt x="4165825" y="958687"/>
                </a:lnTo>
                <a:lnTo>
                  <a:pt x="4230036" y="965141"/>
                </a:lnTo>
                <a:cubicBezTo>
                  <a:pt x="4375902" y="994908"/>
                  <a:pt x="4485264" y="1123575"/>
                  <a:pt x="4485264" y="1277122"/>
                </a:cubicBezTo>
                <a:cubicBezTo>
                  <a:pt x="4485264" y="1454230"/>
                  <a:pt x="4342424" y="1597216"/>
                  <a:pt x="4165498" y="1597216"/>
                </a:cubicBezTo>
                <a:cubicBezTo>
                  <a:pt x="4077846" y="1597216"/>
                  <a:pt x="3998310" y="1561469"/>
                  <a:pt x="3940688" y="1503584"/>
                </a:cubicBezTo>
                <a:lnTo>
                  <a:pt x="3902637" y="1457259"/>
                </a:lnTo>
                <a:lnTo>
                  <a:pt x="3901795" y="1456232"/>
                </a:lnTo>
                <a:cubicBezTo>
                  <a:pt x="3867442" y="1405154"/>
                  <a:pt x="3847355" y="1343537"/>
                  <a:pt x="3847355" y="1277122"/>
                </a:cubicBezTo>
                <a:cubicBezTo>
                  <a:pt x="3847355" y="1454230"/>
                  <a:pt x="3704514" y="1597216"/>
                  <a:pt x="3527588" y="1597216"/>
                </a:cubicBezTo>
                <a:cubicBezTo>
                  <a:pt x="3352330" y="1597216"/>
                  <a:pt x="3209526" y="1454230"/>
                  <a:pt x="3209526" y="1277122"/>
                </a:cubicBezTo>
                <a:cubicBezTo>
                  <a:pt x="3209526" y="1366489"/>
                  <a:pt x="3173825" y="1444481"/>
                  <a:pt x="3117028" y="1502975"/>
                </a:cubicBezTo>
                <a:cubicBezTo>
                  <a:pt x="3115405" y="1502975"/>
                  <a:pt x="3115405" y="1502975"/>
                  <a:pt x="3115405" y="1502975"/>
                </a:cubicBezTo>
                <a:cubicBezTo>
                  <a:pt x="3108914" y="1509474"/>
                  <a:pt x="3100801" y="1515974"/>
                  <a:pt x="3094310" y="1522473"/>
                </a:cubicBezTo>
                <a:cubicBezTo>
                  <a:pt x="3089441" y="1528972"/>
                  <a:pt x="3086195" y="1528972"/>
                  <a:pt x="3081327" y="1532222"/>
                </a:cubicBezTo>
                <a:cubicBezTo>
                  <a:pt x="3081327" y="1532222"/>
                  <a:pt x="3081327" y="1533848"/>
                  <a:pt x="3081327" y="1533848"/>
                </a:cubicBezTo>
                <a:cubicBezTo>
                  <a:pt x="3073213" y="1540347"/>
                  <a:pt x="3065099" y="1545221"/>
                  <a:pt x="3056986" y="1550096"/>
                </a:cubicBezTo>
                <a:cubicBezTo>
                  <a:pt x="3055362" y="1551720"/>
                  <a:pt x="3053740" y="1551720"/>
                  <a:pt x="3052117" y="1553346"/>
                </a:cubicBezTo>
                <a:cubicBezTo>
                  <a:pt x="3048872" y="1554970"/>
                  <a:pt x="3045626" y="1556595"/>
                  <a:pt x="3042380" y="1558220"/>
                </a:cubicBezTo>
                <a:cubicBezTo>
                  <a:pt x="3042380" y="1558220"/>
                  <a:pt x="3042380" y="1558220"/>
                  <a:pt x="3040758" y="1558220"/>
                </a:cubicBezTo>
                <a:cubicBezTo>
                  <a:pt x="3037512" y="1561469"/>
                  <a:pt x="3032644" y="1563094"/>
                  <a:pt x="3029399" y="1564719"/>
                </a:cubicBezTo>
                <a:cubicBezTo>
                  <a:pt x="3027776" y="1566344"/>
                  <a:pt x="3027776" y="1566344"/>
                  <a:pt x="3027776" y="1566344"/>
                </a:cubicBezTo>
                <a:cubicBezTo>
                  <a:pt x="3022908" y="1567969"/>
                  <a:pt x="3019662" y="1569594"/>
                  <a:pt x="3014793" y="1571218"/>
                </a:cubicBezTo>
                <a:cubicBezTo>
                  <a:pt x="3009926" y="1574468"/>
                  <a:pt x="3005056" y="1576093"/>
                  <a:pt x="3000189" y="1577717"/>
                </a:cubicBezTo>
                <a:cubicBezTo>
                  <a:pt x="3000189" y="1577717"/>
                  <a:pt x="2998566" y="1577717"/>
                  <a:pt x="2996943" y="1577717"/>
                </a:cubicBezTo>
                <a:cubicBezTo>
                  <a:pt x="2993698" y="1579343"/>
                  <a:pt x="2990452" y="1580967"/>
                  <a:pt x="2985584" y="1582593"/>
                </a:cubicBezTo>
                <a:cubicBezTo>
                  <a:pt x="2983961" y="1582593"/>
                  <a:pt x="2982338" y="1584217"/>
                  <a:pt x="2980715" y="1584217"/>
                </a:cubicBezTo>
                <a:cubicBezTo>
                  <a:pt x="2977470" y="1584217"/>
                  <a:pt x="2974224" y="1585842"/>
                  <a:pt x="2970978" y="1587467"/>
                </a:cubicBezTo>
                <a:cubicBezTo>
                  <a:pt x="2967733" y="1587467"/>
                  <a:pt x="2966111" y="1587467"/>
                  <a:pt x="2962865" y="1587467"/>
                </a:cubicBezTo>
                <a:cubicBezTo>
                  <a:pt x="2961242" y="1589092"/>
                  <a:pt x="2957997" y="1589092"/>
                  <a:pt x="2954752" y="1590716"/>
                </a:cubicBezTo>
                <a:cubicBezTo>
                  <a:pt x="2953128" y="1590716"/>
                  <a:pt x="2949883" y="1590716"/>
                  <a:pt x="2948260" y="1590716"/>
                </a:cubicBezTo>
                <a:cubicBezTo>
                  <a:pt x="2945015" y="1592342"/>
                  <a:pt x="2941769" y="1592342"/>
                  <a:pt x="2940146" y="1592342"/>
                </a:cubicBezTo>
                <a:cubicBezTo>
                  <a:pt x="2936900" y="1593966"/>
                  <a:pt x="2935278" y="1592342"/>
                  <a:pt x="2932032" y="1593966"/>
                </a:cubicBezTo>
                <a:cubicBezTo>
                  <a:pt x="2928787" y="1593966"/>
                  <a:pt x="2927164" y="1593966"/>
                  <a:pt x="2923919" y="1593966"/>
                </a:cubicBezTo>
                <a:cubicBezTo>
                  <a:pt x="2912559" y="1593966"/>
                  <a:pt x="2901200" y="1595591"/>
                  <a:pt x="2891463" y="1595591"/>
                </a:cubicBezTo>
                <a:cubicBezTo>
                  <a:pt x="2714582" y="1595591"/>
                  <a:pt x="2571778" y="1454230"/>
                  <a:pt x="2571778" y="1277122"/>
                </a:cubicBezTo>
                <a:cubicBezTo>
                  <a:pt x="2571778" y="1123575"/>
                  <a:pt x="2681113" y="994908"/>
                  <a:pt x="2826943" y="965141"/>
                </a:cubicBezTo>
                <a:lnTo>
                  <a:pt x="2891126" y="958688"/>
                </a:lnTo>
                <a:lnTo>
                  <a:pt x="2913400" y="960280"/>
                </a:lnTo>
                <a:cubicBezTo>
                  <a:pt x="2916649" y="960280"/>
                  <a:pt x="2919899" y="960280"/>
                  <a:pt x="2923148" y="960280"/>
                </a:cubicBezTo>
                <a:cubicBezTo>
                  <a:pt x="2932898" y="961904"/>
                  <a:pt x="2942646" y="963529"/>
                  <a:pt x="2952396" y="965153"/>
                </a:cubicBezTo>
                <a:cubicBezTo>
                  <a:pt x="2952396" y="965153"/>
                  <a:pt x="2954021" y="965153"/>
                  <a:pt x="2954021" y="965153"/>
                </a:cubicBezTo>
                <a:cubicBezTo>
                  <a:pt x="2963770" y="966779"/>
                  <a:pt x="2971894" y="968403"/>
                  <a:pt x="2980018" y="971653"/>
                </a:cubicBezTo>
                <a:cubicBezTo>
                  <a:pt x="2981642" y="971653"/>
                  <a:pt x="2983268" y="973278"/>
                  <a:pt x="2984892" y="973278"/>
                </a:cubicBezTo>
                <a:cubicBezTo>
                  <a:pt x="2989767" y="974902"/>
                  <a:pt x="2994641" y="976528"/>
                  <a:pt x="2999516" y="978152"/>
                </a:cubicBezTo>
                <a:cubicBezTo>
                  <a:pt x="3004390" y="979777"/>
                  <a:pt x="3007640" y="981402"/>
                  <a:pt x="3010890" y="983027"/>
                </a:cubicBezTo>
                <a:cubicBezTo>
                  <a:pt x="3012515" y="983027"/>
                  <a:pt x="3014139" y="983027"/>
                  <a:pt x="3014139" y="983027"/>
                </a:cubicBezTo>
                <a:cubicBezTo>
                  <a:pt x="3017389" y="984651"/>
                  <a:pt x="3020639" y="986277"/>
                  <a:pt x="3023888" y="987901"/>
                </a:cubicBezTo>
                <a:cubicBezTo>
                  <a:pt x="3025514" y="989527"/>
                  <a:pt x="3027138" y="989527"/>
                  <a:pt x="3028763" y="989527"/>
                </a:cubicBezTo>
                <a:cubicBezTo>
                  <a:pt x="3033637" y="992776"/>
                  <a:pt x="3036887" y="994400"/>
                  <a:pt x="3041762" y="996026"/>
                </a:cubicBezTo>
                <a:cubicBezTo>
                  <a:pt x="3041762" y="997650"/>
                  <a:pt x="3041762" y="997650"/>
                  <a:pt x="3041762" y="997650"/>
                </a:cubicBezTo>
                <a:cubicBezTo>
                  <a:pt x="3051511" y="1002525"/>
                  <a:pt x="3059635" y="1007399"/>
                  <a:pt x="3067760" y="1012274"/>
                </a:cubicBezTo>
                <a:cubicBezTo>
                  <a:pt x="3067760" y="1012274"/>
                  <a:pt x="3067760" y="1012274"/>
                  <a:pt x="3069384" y="1013899"/>
                </a:cubicBezTo>
                <a:cubicBezTo>
                  <a:pt x="3153875" y="1070768"/>
                  <a:pt x="3209120" y="1168259"/>
                  <a:pt x="3209120" y="1277122"/>
                </a:cubicBezTo>
                <a:cubicBezTo>
                  <a:pt x="3209120" y="1101640"/>
                  <a:pt x="3352106" y="958654"/>
                  <a:pt x="3527588" y="958654"/>
                </a:cubicBezTo>
                <a:close/>
                <a:moveTo>
                  <a:pt x="2253716" y="958654"/>
                </a:moveTo>
                <a:cubicBezTo>
                  <a:pt x="2430597" y="958654"/>
                  <a:pt x="2571778" y="1101640"/>
                  <a:pt x="2571778" y="1277122"/>
                </a:cubicBezTo>
                <a:cubicBezTo>
                  <a:pt x="2571778" y="1454230"/>
                  <a:pt x="2430597" y="1597216"/>
                  <a:pt x="2253716" y="1597216"/>
                </a:cubicBezTo>
                <a:cubicBezTo>
                  <a:pt x="2078233" y="1597216"/>
                  <a:pt x="1935248" y="1454230"/>
                  <a:pt x="1935248" y="1277122"/>
                </a:cubicBezTo>
                <a:cubicBezTo>
                  <a:pt x="1935248" y="1101640"/>
                  <a:pt x="2078233" y="958654"/>
                  <a:pt x="2253716" y="958654"/>
                </a:cubicBezTo>
                <a:close/>
                <a:moveTo>
                  <a:pt x="978219" y="320094"/>
                </a:moveTo>
                <a:lnTo>
                  <a:pt x="1042285" y="326584"/>
                </a:lnTo>
                <a:cubicBezTo>
                  <a:pt x="1187213" y="356373"/>
                  <a:pt x="1296686" y="485218"/>
                  <a:pt x="1296686" y="640187"/>
                </a:cubicBezTo>
                <a:cubicBezTo>
                  <a:pt x="1296686" y="463079"/>
                  <a:pt x="1439672" y="320094"/>
                  <a:pt x="1615154" y="320094"/>
                </a:cubicBezTo>
                <a:lnTo>
                  <a:pt x="1616359" y="320215"/>
                </a:lnTo>
                <a:lnTo>
                  <a:pt x="1679593" y="326584"/>
                </a:lnTo>
                <a:cubicBezTo>
                  <a:pt x="1825238" y="356373"/>
                  <a:pt x="1934433" y="485218"/>
                  <a:pt x="1934433" y="640187"/>
                </a:cubicBezTo>
                <a:lnTo>
                  <a:pt x="1934840" y="636126"/>
                </a:lnTo>
                <a:lnTo>
                  <a:pt x="1935248" y="640187"/>
                </a:lnTo>
                <a:lnTo>
                  <a:pt x="1928758" y="704253"/>
                </a:lnTo>
                <a:cubicBezTo>
                  <a:pt x="1898968" y="849180"/>
                  <a:pt x="1770124" y="958654"/>
                  <a:pt x="1615154" y="958654"/>
                </a:cubicBezTo>
                <a:cubicBezTo>
                  <a:pt x="1792262" y="958654"/>
                  <a:pt x="1935248" y="1101640"/>
                  <a:pt x="1935248" y="1277122"/>
                </a:cubicBezTo>
                <a:cubicBezTo>
                  <a:pt x="1935248" y="1454230"/>
                  <a:pt x="1792262" y="1597216"/>
                  <a:pt x="1615154" y="1597216"/>
                </a:cubicBezTo>
                <a:cubicBezTo>
                  <a:pt x="1792262" y="1597216"/>
                  <a:pt x="1935248" y="1740201"/>
                  <a:pt x="1935248" y="1915684"/>
                </a:cubicBezTo>
                <a:cubicBezTo>
                  <a:pt x="1935248" y="2091166"/>
                  <a:pt x="1792262" y="2234153"/>
                  <a:pt x="1615154" y="2234153"/>
                </a:cubicBezTo>
                <a:cubicBezTo>
                  <a:pt x="1792262" y="2234153"/>
                  <a:pt x="1935248" y="2377139"/>
                  <a:pt x="1935248" y="2554245"/>
                </a:cubicBezTo>
                <a:cubicBezTo>
                  <a:pt x="1935248" y="2377139"/>
                  <a:pt x="2078233" y="2234153"/>
                  <a:pt x="2253716" y="2234153"/>
                </a:cubicBezTo>
                <a:cubicBezTo>
                  <a:pt x="2430372" y="2234153"/>
                  <a:pt x="2571374" y="2377139"/>
                  <a:pt x="2571374" y="2554245"/>
                </a:cubicBezTo>
                <a:cubicBezTo>
                  <a:pt x="2571374" y="2377139"/>
                  <a:pt x="2713995" y="2234153"/>
                  <a:pt x="2890652" y="2234153"/>
                </a:cubicBezTo>
                <a:cubicBezTo>
                  <a:pt x="3044199" y="2234153"/>
                  <a:pt x="3172866" y="2343625"/>
                  <a:pt x="3202634" y="2489642"/>
                </a:cubicBezTo>
                <a:lnTo>
                  <a:pt x="3209120" y="2554245"/>
                </a:lnTo>
                <a:lnTo>
                  <a:pt x="3202634" y="2618311"/>
                </a:lnTo>
                <a:cubicBezTo>
                  <a:pt x="3172866" y="2763239"/>
                  <a:pt x="3044199" y="2872713"/>
                  <a:pt x="2890652" y="2872713"/>
                </a:cubicBezTo>
                <a:cubicBezTo>
                  <a:pt x="3044199" y="2872713"/>
                  <a:pt x="3172866" y="2982186"/>
                  <a:pt x="3202634" y="3127114"/>
                </a:cubicBezTo>
                <a:lnTo>
                  <a:pt x="3209057" y="3190558"/>
                </a:lnTo>
                <a:lnTo>
                  <a:pt x="3208994" y="3191181"/>
                </a:lnTo>
                <a:cubicBezTo>
                  <a:pt x="3208994" y="3192806"/>
                  <a:pt x="3208994" y="3192806"/>
                  <a:pt x="3208994" y="3192806"/>
                </a:cubicBezTo>
                <a:cubicBezTo>
                  <a:pt x="3208994" y="3368288"/>
                  <a:pt x="3066121" y="3511274"/>
                  <a:pt x="2890776" y="3511274"/>
                </a:cubicBezTo>
                <a:cubicBezTo>
                  <a:pt x="2889152" y="3511274"/>
                  <a:pt x="2889152" y="3511274"/>
                  <a:pt x="2889152" y="3511274"/>
                </a:cubicBezTo>
                <a:cubicBezTo>
                  <a:pt x="2713807" y="3511274"/>
                  <a:pt x="2570934" y="3368288"/>
                  <a:pt x="2570934" y="3192806"/>
                </a:cubicBezTo>
                <a:cubicBezTo>
                  <a:pt x="2570934" y="3015698"/>
                  <a:pt x="2713807" y="2872713"/>
                  <a:pt x="2889152" y="2872713"/>
                </a:cubicBezTo>
                <a:cubicBezTo>
                  <a:pt x="2713807" y="2872713"/>
                  <a:pt x="2570934" y="2729727"/>
                  <a:pt x="2570934" y="2554244"/>
                </a:cubicBezTo>
                <a:cubicBezTo>
                  <a:pt x="2570934" y="2729727"/>
                  <a:pt x="2429684" y="2872713"/>
                  <a:pt x="2252716" y="2872713"/>
                </a:cubicBezTo>
                <a:cubicBezTo>
                  <a:pt x="2077370" y="2872713"/>
                  <a:pt x="1934497" y="2729727"/>
                  <a:pt x="1934497" y="2554244"/>
                </a:cubicBezTo>
                <a:cubicBezTo>
                  <a:pt x="1934497" y="2729727"/>
                  <a:pt x="1791623" y="2872713"/>
                  <a:pt x="1614654" y="2872713"/>
                </a:cubicBezTo>
                <a:cubicBezTo>
                  <a:pt x="1439310" y="2872713"/>
                  <a:pt x="1296436" y="2729727"/>
                  <a:pt x="1296436" y="2554244"/>
                </a:cubicBezTo>
                <a:cubicBezTo>
                  <a:pt x="1296436" y="2377137"/>
                  <a:pt x="1439310" y="2234152"/>
                  <a:pt x="1614654" y="2234152"/>
                </a:cubicBezTo>
                <a:cubicBezTo>
                  <a:pt x="1439310" y="2234152"/>
                  <a:pt x="1296436" y="2091166"/>
                  <a:pt x="1296436" y="1915684"/>
                </a:cubicBezTo>
                <a:cubicBezTo>
                  <a:pt x="1296436" y="1740201"/>
                  <a:pt x="1439310" y="1597216"/>
                  <a:pt x="1614654" y="1597216"/>
                </a:cubicBezTo>
                <a:cubicBezTo>
                  <a:pt x="1439310" y="1597216"/>
                  <a:pt x="1296436" y="1454230"/>
                  <a:pt x="1296436" y="1277122"/>
                </a:cubicBezTo>
                <a:cubicBezTo>
                  <a:pt x="1296436" y="1101640"/>
                  <a:pt x="1439310" y="958654"/>
                  <a:pt x="1614654" y="958654"/>
                </a:cubicBezTo>
                <a:cubicBezTo>
                  <a:pt x="1439310" y="958654"/>
                  <a:pt x="1296436" y="815668"/>
                  <a:pt x="1296436" y="640186"/>
                </a:cubicBezTo>
                <a:cubicBezTo>
                  <a:pt x="1296436" y="815668"/>
                  <a:pt x="1153563" y="958654"/>
                  <a:pt x="978218" y="958654"/>
                </a:cubicBezTo>
                <a:cubicBezTo>
                  <a:pt x="1153563" y="958654"/>
                  <a:pt x="1296436" y="1101640"/>
                  <a:pt x="1296436" y="1277122"/>
                </a:cubicBezTo>
                <a:cubicBezTo>
                  <a:pt x="1296436" y="1432091"/>
                  <a:pt x="1187050" y="1560936"/>
                  <a:pt x="1042235" y="1590726"/>
                </a:cubicBezTo>
                <a:lnTo>
                  <a:pt x="978219" y="1597216"/>
                </a:lnTo>
                <a:lnTo>
                  <a:pt x="913749" y="1590730"/>
                </a:lnTo>
                <a:cubicBezTo>
                  <a:pt x="804564" y="1568404"/>
                  <a:pt x="716351" y="1490447"/>
                  <a:pt x="678470" y="1388086"/>
                </a:cubicBezTo>
                <a:lnTo>
                  <a:pt x="675256" y="1376415"/>
                </a:lnTo>
                <a:lnTo>
                  <a:pt x="675256" y="1181780"/>
                </a:lnTo>
                <a:lnTo>
                  <a:pt x="684220" y="1153331"/>
                </a:lnTo>
                <a:cubicBezTo>
                  <a:pt x="732916" y="1039085"/>
                  <a:pt x="845524" y="958655"/>
                  <a:pt x="978219" y="958655"/>
                </a:cubicBezTo>
                <a:cubicBezTo>
                  <a:pt x="845524" y="958655"/>
                  <a:pt x="732916" y="878226"/>
                  <a:pt x="684220" y="763979"/>
                </a:cubicBezTo>
                <a:lnTo>
                  <a:pt x="675256" y="735530"/>
                </a:lnTo>
                <a:lnTo>
                  <a:pt x="675256" y="540894"/>
                </a:lnTo>
                <a:lnTo>
                  <a:pt x="678470" y="529223"/>
                </a:lnTo>
                <a:cubicBezTo>
                  <a:pt x="716351" y="426862"/>
                  <a:pt x="804564" y="348906"/>
                  <a:pt x="913749" y="326581"/>
                </a:cubicBezTo>
                <a:close/>
                <a:moveTo>
                  <a:pt x="675256" y="0"/>
                </a:moveTo>
                <a:lnTo>
                  <a:pt x="5118303" y="0"/>
                </a:lnTo>
                <a:lnTo>
                  <a:pt x="5118303" y="34128"/>
                </a:lnTo>
                <a:lnTo>
                  <a:pt x="5107763" y="92594"/>
                </a:lnTo>
                <a:cubicBezTo>
                  <a:pt x="5070381" y="224304"/>
                  <a:pt x="4946602" y="320094"/>
                  <a:pt x="4801692" y="320094"/>
                </a:cubicBezTo>
                <a:cubicBezTo>
                  <a:pt x="4626337" y="320094"/>
                  <a:pt x="4483456" y="177108"/>
                  <a:pt x="4483456" y="1626"/>
                </a:cubicBezTo>
                <a:cubicBezTo>
                  <a:pt x="4483456" y="177108"/>
                  <a:pt x="4340574" y="320094"/>
                  <a:pt x="4165220" y="320094"/>
                </a:cubicBezTo>
                <a:cubicBezTo>
                  <a:pt x="3989866" y="320094"/>
                  <a:pt x="3846984" y="177108"/>
                  <a:pt x="3846984" y="1626"/>
                </a:cubicBezTo>
                <a:cubicBezTo>
                  <a:pt x="3846984" y="177108"/>
                  <a:pt x="3704102" y="320094"/>
                  <a:pt x="3527124" y="320094"/>
                </a:cubicBezTo>
                <a:cubicBezTo>
                  <a:pt x="3351770" y="320094"/>
                  <a:pt x="3208888" y="177108"/>
                  <a:pt x="3208888" y="1626"/>
                </a:cubicBezTo>
                <a:cubicBezTo>
                  <a:pt x="3208888" y="177108"/>
                  <a:pt x="3066006" y="320094"/>
                  <a:pt x="2890652" y="320094"/>
                </a:cubicBezTo>
                <a:cubicBezTo>
                  <a:pt x="3066006" y="320094"/>
                  <a:pt x="3208888" y="463079"/>
                  <a:pt x="3208888" y="640187"/>
                </a:cubicBezTo>
                <a:cubicBezTo>
                  <a:pt x="3208888" y="463079"/>
                  <a:pt x="3351770" y="320094"/>
                  <a:pt x="3527124" y="320094"/>
                </a:cubicBezTo>
                <a:cubicBezTo>
                  <a:pt x="3704102" y="320094"/>
                  <a:pt x="3846984" y="463079"/>
                  <a:pt x="3846984" y="640187"/>
                </a:cubicBezTo>
                <a:cubicBezTo>
                  <a:pt x="3846984" y="463079"/>
                  <a:pt x="3989866" y="320094"/>
                  <a:pt x="4165220" y="320094"/>
                </a:cubicBezTo>
                <a:cubicBezTo>
                  <a:pt x="4342198" y="320094"/>
                  <a:pt x="4483456" y="463079"/>
                  <a:pt x="4483456" y="640187"/>
                </a:cubicBezTo>
                <a:cubicBezTo>
                  <a:pt x="4483456" y="463079"/>
                  <a:pt x="4626337" y="320094"/>
                  <a:pt x="4801692" y="320094"/>
                </a:cubicBezTo>
                <a:cubicBezTo>
                  <a:pt x="4946602" y="320094"/>
                  <a:pt x="5070381" y="417127"/>
                  <a:pt x="5107763" y="548060"/>
                </a:cubicBezTo>
                <a:lnTo>
                  <a:pt x="5118303" y="606060"/>
                </a:lnTo>
                <a:lnTo>
                  <a:pt x="5118303" y="672689"/>
                </a:lnTo>
                <a:lnTo>
                  <a:pt x="5115370" y="688964"/>
                </a:lnTo>
                <a:lnTo>
                  <a:pt x="5107766" y="731154"/>
                </a:lnTo>
                <a:lnTo>
                  <a:pt x="5107758" y="731176"/>
                </a:lnTo>
                <a:lnTo>
                  <a:pt x="5087854" y="782149"/>
                </a:lnTo>
                <a:lnTo>
                  <a:pt x="5078932" y="797517"/>
                </a:lnTo>
                <a:lnTo>
                  <a:pt x="5061182" y="825772"/>
                </a:lnTo>
                <a:lnTo>
                  <a:pt x="5000802" y="888370"/>
                </a:lnTo>
                <a:lnTo>
                  <a:pt x="4987827" y="898130"/>
                </a:lnTo>
                <a:lnTo>
                  <a:pt x="4909878" y="939293"/>
                </a:lnTo>
                <a:lnTo>
                  <a:pt x="4896860" y="943040"/>
                </a:lnTo>
                <a:lnTo>
                  <a:pt x="4801784" y="958654"/>
                </a:lnTo>
                <a:cubicBezTo>
                  <a:pt x="4626480" y="958654"/>
                  <a:pt x="4483641" y="815668"/>
                  <a:pt x="4483641" y="640186"/>
                </a:cubicBezTo>
                <a:cubicBezTo>
                  <a:pt x="4483641" y="771798"/>
                  <a:pt x="4404206" y="885131"/>
                  <a:pt x="4289849" y="933571"/>
                </a:cubicBezTo>
                <a:cubicBezTo>
                  <a:pt x="4270789" y="941644"/>
                  <a:pt x="4250760" y="947915"/>
                  <a:pt x="4229966" y="952168"/>
                </a:cubicBezTo>
                <a:lnTo>
                  <a:pt x="4165825" y="958621"/>
                </a:lnTo>
                <a:lnTo>
                  <a:pt x="4102083" y="952167"/>
                </a:lnTo>
                <a:cubicBezTo>
                  <a:pt x="3957155" y="922400"/>
                  <a:pt x="3847682" y="793733"/>
                  <a:pt x="3847682" y="640186"/>
                </a:cubicBezTo>
                <a:cubicBezTo>
                  <a:pt x="3847682" y="815668"/>
                  <a:pt x="3704696" y="958654"/>
                  <a:pt x="3527588" y="958654"/>
                </a:cubicBezTo>
                <a:cubicBezTo>
                  <a:pt x="3352106" y="958654"/>
                  <a:pt x="3209120" y="815668"/>
                  <a:pt x="3209120" y="640186"/>
                </a:cubicBezTo>
                <a:cubicBezTo>
                  <a:pt x="3209120" y="793733"/>
                  <a:pt x="3099646" y="922400"/>
                  <a:pt x="2954719" y="952167"/>
                </a:cubicBezTo>
                <a:lnTo>
                  <a:pt x="2891056" y="958613"/>
                </a:lnTo>
                <a:lnTo>
                  <a:pt x="2826943" y="952167"/>
                </a:lnTo>
                <a:cubicBezTo>
                  <a:pt x="2681113" y="922400"/>
                  <a:pt x="2571778" y="793733"/>
                  <a:pt x="2571778" y="640186"/>
                </a:cubicBezTo>
                <a:cubicBezTo>
                  <a:pt x="2571778" y="815668"/>
                  <a:pt x="2430597" y="958654"/>
                  <a:pt x="2253716" y="958654"/>
                </a:cubicBezTo>
                <a:cubicBezTo>
                  <a:pt x="2100169" y="958654"/>
                  <a:pt x="1971502" y="849180"/>
                  <a:pt x="1941734" y="704253"/>
                </a:cubicBezTo>
                <a:lnTo>
                  <a:pt x="1935248" y="640187"/>
                </a:lnTo>
                <a:lnTo>
                  <a:pt x="1941734" y="575583"/>
                </a:lnTo>
                <a:cubicBezTo>
                  <a:pt x="1971502" y="429567"/>
                  <a:pt x="2100169" y="320094"/>
                  <a:pt x="2253716" y="320094"/>
                </a:cubicBezTo>
                <a:cubicBezTo>
                  <a:pt x="2078233" y="320094"/>
                  <a:pt x="1935248" y="177108"/>
                  <a:pt x="1935248" y="1626"/>
                </a:cubicBezTo>
                <a:lnTo>
                  <a:pt x="1934840" y="5653"/>
                </a:lnTo>
                <a:lnTo>
                  <a:pt x="1934433" y="1626"/>
                </a:lnTo>
                <a:cubicBezTo>
                  <a:pt x="1934433" y="177108"/>
                  <a:pt x="1791810" y="320094"/>
                  <a:pt x="1615154" y="320094"/>
                </a:cubicBezTo>
                <a:cubicBezTo>
                  <a:pt x="1439672" y="320094"/>
                  <a:pt x="1296686" y="177108"/>
                  <a:pt x="1296686" y="1626"/>
                </a:cubicBezTo>
                <a:cubicBezTo>
                  <a:pt x="1296686" y="155173"/>
                  <a:pt x="1187213" y="283839"/>
                  <a:pt x="1042285" y="313606"/>
                </a:cubicBezTo>
                <a:lnTo>
                  <a:pt x="978219" y="320094"/>
                </a:lnTo>
                <a:lnTo>
                  <a:pt x="913682" y="313606"/>
                </a:lnTo>
                <a:cubicBezTo>
                  <a:pt x="804281" y="291281"/>
                  <a:pt x="715415" y="213325"/>
                  <a:pt x="677819" y="110964"/>
                </a:cubicBezTo>
                <a:lnTo>
                  <a:pt x="675256" y="101508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2607" y="208649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9557" y="6382238"/>
            <a:ext cx="2743200" cy="365125"/>
          </a:xfrm>
        </p:spPr>
        <p:txBody>
          <a:bodyPr/>
          <a:lstStyle>
            <a:lvl1pPr algn="l"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0" name="Freeform 56">
            <a:extLst>
              <a:ext uri="{FF2B5EF4-FFF2-40B4-BE49-F238E27FC236}">
                <a16:creationId xmlns:a16="http://schemas.microsoft.com/office/drawing/2014/main" id="{463AFADF-0771-4B4D-BAA1-449BE7DFA77F}"/>
              </a:ext>
            </a:extLst>
          </p:cNvPr>
          <p:cNvSpPr>
            <a:spLocks/>
          </p:cNvSpPr>
          <p:nvPr userDrawn="1"/>
        </p:nvSpPr>
        <p:spPr bwMode="auto">
          <a:xfrm>
            <a:off x="3922713" y="6294438"/>
            <a:ext cx="1588" cy="6350"/>
          </a:xfrm>
          <a:custGeom>
            <a:avLst/>
            <a:gdLst>
              <a:gd name="T0" fmla="*/ 0 w 1"/>
              <a:gd name="T1" fmla="*/ 1 h 4"/>
              <a:gd name="T2" fmla="*/ 1 w 1"/>
              <a:gd name="T3" fmla="*/ 4 h 4"/>
              <a:gd name="T4" fmla="*/ 1 w 1"/>
              <a:gd name="T5" fmla="*/ 4 h 4"/>
              <a:gd name="T6" fmla="*/ 0 w 1"/>
              <a:gd name="T7" fmla="*/ 0 h 4"/>
              <a:gd name="T8" fmla="*/ 0 w 1"/>
              <a:gd name="T9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4">
                <a:moveTo>
                  <a:pt x="0" y="1"/>
                </a:moveTo>
                <a:cubicBezTo>
                  <a:pt x="1" y="2"/>
                  <a:pt x="1" y="3"/>
                  <a:pt x="1" y="4"/>
                </a:cubicBezTo>
                <a:cubicBezTo>
                  <a:pt x="1" y="4"/>
                  <a:pt x="1" y="4"/>
                  <a:pt x="1" y="4"/>
                </a:cubicBezTo>
                <a:cubicBezTo>
                  <a:pt x="1" y="3"/>
                  <a:pt x="1" y="2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1" name="Freeform 57">
            <a:extLst>
              <a:ext uri="{FF2B5EF4-FFF2-40B4-BE49-F238E27FC236}">
                <a16:creationId xmlns:a16="http://schemas.microsoft.com/office/drawing/2014/main" id="{A0A349B0-16AD-42EF-8283-553DFB2CD45D}"/>
              </a:ext>
            </a:extLst>
          </p:cNvPr>
          <p:cNvSpPr>
            <a:spLocks/>
          </p:cNvSpPr>
          <p:nvPr userDrawn="1"/>
        </p:nvSpPr>
        <p:spPr bwMode="auto">
          <a:xfrm>
            <a:off x="8258175" y="6330950"/>
            <a:ext cx="3175" cy="7938"/>
          </a:xfrm>
          <a:custGeom>
            <a:avLst/>
            <a:gdLst>
              <a:gd name="T0" fmla="*/ 2 w 2"/>
              <a:gd name="T1" fmla="*/ 2 h 5"/>
              <a:gd name="T2" fmla="*/ 2 w 2"/>
              <a:gd name="T3" fmla="*/ 0 h 5"/>
              <a:gd name="T4" fmla="*/ 0 w 2"/>
              <a:gd name="T5" fmla="*/ 5 h 5"/>
              <a:gd name="T6" fmla="*/ 2 w 2"/>
              <a:gd name="T7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5">
                <a:moveTo>
                  <a:pt x="2" y="2"/>
                </a:moveTo>
                <a:cubicBezTo>
                  <a:pt x="2" y="1"/>
                  <a:pt x="2" y="1"/>
                  <a:pt x="2" y="0"/>
                </a:cubicBezTo>
                <a:cubicBezTo>
                  <a:pt x="2" y="2"/>
                  <a:pt x="1" y="3"/>
                  <a:pt x="0" y="5"/>
                </a:cubicBezTo>
                <a:cubicBezTo>
                  <a:pt x="1" y="4"/>
                  <a:pt x="1" y="3"/>
                  <a:pt x="2" y="2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Freeform 58">
            <a:extLst>
              <a:ext uri="{FF2B5EF4-FFF2-40B4-BE49-F238E27FC236}">
                <a16:creationId xmlns:a16="http://schemas.microsoft.com/office/drawing/2014/main" id="{54D612D3-E997-451C-81BD-9DB0BCFA5B15}"/>
              </a:ext>
            </a:extLst>
          </p:cNvPr>
          <p:cNvSpPr>
            <a:spLocks/>
          </p:cNvSpPr>
          <p:nvPr userDrawn="1"/>
        </p:nvSpPr>
        <p:spPr bwMode="auto">
          <a:xfrm>
            <a:off x="7661275" y="6300788"/>
            <a:ext cx="3175" cy="9525"/>
          </a:xfrm>
          <a:custGeom>
            <a:avLst/>
            <a:gdLst>
              <a:gd name="T0" fmla="*/ 0 w 2"/>
              <a:gd name="T1" fmla="*/ 2 h 6"/>
              <a:gd name="T2" fmla="*/ 2 w 2"/>
              <a:gd name="T3" fmla="*/ 6 h 6"/>
              <a:gd name="T4" fmla="*/ 2 w 2"/>
              <a:gd name="T5" fmla="*/ 6 h 6"/>
              <a:gd name="T6" fmla="*/ 0 w 2"/>
              <a:gd name="T7" fmla="*/ 0 h 6"/>
              <a:gd name="T8" fmla="*/ 0 w 2"/>
              <a:gd name="T9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6">
                <a:moveTo>
                  <a:pt x="0" y="2"/>
                </a:moveTo>
                <a:cubicBezTo>
                  <a:pt x="1" y="3"/>
                  <a:pt x="1" y="5"/>
                  <a:pt x="2" y="6"/>
                </a:cubicBezTo>
                <a:cubicBezTo>
                  <a:pt x="2" y="6"/>
                  <a:pt x="2" y="6"/>
                  <a:pt x="2" y="6"/>
                </a:cubicBezTo>
                <a:cubicBezTo>
                  <a:pt x="1" y="4"/>
                  <a:pt x="1" y="2"/>
                  <a:pt x="0" y="0"/>
                </a:cubicBezTo>
                <a:cubicBezTo>
                  <a:pt x="0" y="1"/>
                  <a:pt x="0" y="1"/>
                  <a:pt x="0" y="2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3" name="Freeform 59">
            <a:extLst>
              <a:ext uri="{FF2B5EF4-FFF2-40B4-BE49-F238E27FC236}">
                <a16:creationId xmlns:a16="http://schemas.microsoft.com/office/drawing/2014/main" id="{339243A8-901F-496D-A007-D0A4F8975614}"/>
              </a:ext>
            </a:extLst>
          </p:cNvPr>
          <p:cNvSpPr>
            <a:spLocks/>
          </p:cNvSpPr>
          <p:nvPr userDrawn="1"/>
        </p:nvSpPr>
        <p:spPr bwMode="auto">
          <a:xfrm>
            <a:off x="8262938" y="6326188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4" name="Freeform 60">
            <a:extLst>
              <a:ext uri="{FF2B5EF4-FFF2-40B4-BE49-F238E27FC236}">
                <a16:creationId xmlns:a16="http://schemas.microsoft.com/office/drawing/2014/main" id="{D37C6043-477D-4AB8-BE61-8FD04A41E587}"/>
              </a:ext>
            </a:extLst>
          </p:cNvPr>
          <p:cNvSpPr>
            <a:spLocks/>
          </p:cNvSpPr>
          <p:nvPr userDrawn="1"/>
        </p:nvSpPr>
        <p:spPr bwMode="auto">
          <a:xfrm>
            <a:off x="8267700" y="6300788"/>
            <a:ext cx="1588" cy="9525"/>
          </a:xfrm>
          <a:custGeom>
            <a:avLst/>
            <a:gdLst>
              <a:gd name="T0" fmla="*/ 0 w 1"/>
              <a:gd name="T1" fmla="*/ 6 h 6"/>
              <a:gd name="T2" fmla="*/ 1 w 1"/>
              <a:gd name="T3" fmla="*/ 1 h 6"/>
              <a:gd name="T4" fmla="*/ 1 w 1"/>
              <a:gd name="T5" fmla="*/ 0 h 6"/>
              <a:gd name="T6" fmla="*/ 0 w 1"/>
              <a:gd name="T7" fmla="*/ 6 h 6"/>
              <a:gd name="T8" fmla="*/ 0 w 1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6">
                <a:moveTo>
                  <a:pt x="0" y="6"/>
                </a:moveTo>
                <a:cubicBezTo>
                  <a:pt x="0" y="4"/>
                  <a:pt x="1" y="3"/>
                  <a:pt x="1" y="1"/>
                </a:cubicBezTo>
                <a:cubicBezTo>
                  <a:pt x="1" y="1"/>
                  <a:pt x="1" y="0"/>
                  <a:pt x="1" y="0"/>
                </a:cubicBezTo>
                <a:cubicBezTo>
                  <a:pt x="1" y="2"/>
                  <a:pt x="0" y="4"/>
                  <a:pt x="0" y="6"/>
                </a:cubicBezTo>
                <a:cubicBezTo>
                  <a:pt x="0" y="6"/>
                  <a:pt x="0" y="6"/>
                  <a:pt x="0" y="6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5" name="Freeform 61">
            <a:extLst>
              <a:ext uri="{FF2B5EF4-FFF2-40B4-BE49-F238E27FC236}">
                <a16:creationId xmlns:a16="http://schemas.microsoft.com/office/drawing/2014/main" id="{3E446FC8-3EC9-48F2-849A-7E51C6FC4B46}"/>
              </a:ext>
            </a:extLst>
          </p:cNvPr>
          <p:cNvSpPr>
            <a:spLocks/>
          </p:cNvSpPr>
          <p:nvPr userDrawn="1"/>
        </p:nvSpPr>
        <p:spPr bwMode="auto">
          <a:xfrm>
            <a:off x="7658100" y="6286500"/>
            <a:ext cx="3175" cy="11113"/>
          </a:xfrm>
          <a:custGeom>
            <a:avLst/>
            <a:gdLst>
              <a:gd name="T0" fmla="*/ 1 w 2"/>
              <a:gd name="T1" fmla="*/ 2 h 7"/>
              <a:gd name="T2" fmla="*/ 2 w 2"/>
              <a:gd name="T3" fmla="*/ 6 h 7"/>
              <a:gd name="T4" fmla="*/ 2 w 2"/>
              <a:gd name="T5" fmla="*/ 7 h 7"/>
              <a:gd name="T6" fmla="*/ 0 w 2"/>
              <a:gd name="T7" fmla="*/ 0 h 7"/>
              <a:gd name="T8" fmla="*/ 1 w 2"/>
              <a:gd name="T9" fmla="*/ 2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7">
                <a:moveTo>
                  <a:pt x="1" y="2"/>
                </a:moveTo>
                <a:cubicBezTo>
                  <a:pt x="1" y="3"/>
                  <a:pt x="1" y="5"/>
                  <a:pt x="2" y="6"/>
                </a:cubicBezTo>
                <a:cubicBezTo>
                  <a:pt x="2" y="6"/>
                  <a:pt x="2" y="7"/>
                  <a:pt x="2" y="7"/>
                </a:cubicBezTo>
                <a:cubicBezTo>
                  <a:pt x="1" y="4"/>
                  <a:pt x="1" y="2"/>
                  <a:pt x="0" y="0"/>
                </a:cubicBezTo>
                <a:cubicBezTo>
                  <a:pt x="0" y="0"/>
                  <a:pt x="1" y="1"/>
                  <a:pt x="1" y="2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6" name="Freeform 62">
            <a:extLst>
              <a:ext uri="{FF2B5EF4-FFF2-40B4-BE49-F238E27FC236}">
                <a16:creationId xmlns:a16="http://schemas.microsoft.com/office/drawing/2014/main" id="{5B130DF4-5C06-45B0-96A2-07F85BDF705D}"/>
              </a:ext>
            </a:extLst>
          </p:cNvPr>
          <p:cNvSpPr>
            <a:spLocks/>
          </p:cNvSpPr>
          <p:nvPr userDrawn="1"/>
        </p:nvSpPr>
        <p:spPr bwMode="auto">
          <a:xfrm>
            <a:off x="8272463" y="6269038"/>
            <a:ext cx="1588" cy="12700"/>
          </a:xfrm>
          <a:custGeom>
            <a:avLst/>
            <a:gdLst>
              <a:gd name="T0" fmla="*/ 1 w 1"/>
              <a:gd name="T1" fmla="*/ 7 h 8"/>
              <a:gd name="T2" fmla="*/ 1 w 1"/>
              <a:gd name="T3" fmla="*/ 4 h 8"/>
              <a:gd name="T4" fmla="*/ 1 w 1"/>
              <a:gd name="T5" fmla="*/ 0 h 8"/>
              <a:gd name="T6" fmla="*/ 0 w 1"/>
              <a:gd name="T7" fmla="*/ 8 h 8"/>
              <a:gd name="T8" fmla="*/ 1 w 1"/>
              <a:gd name="T9" fmla="*/ 7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8">
                <a:moveTo>
                  <a:pt x="1" y="7"/>
                </a:moveTo>
                <a:cubicBezTo>
                  <a:pt x="1" y="6"/>
                  <a:pt x="1" y="5"/>
                  <a:pt x="1" y="4"/>
                </a:cubicBezTo>
                <a:cubicBezTo>
                  <a:pt x="1" y="2"/>
                  <a:pt x="1" y="1"/>
                  <a:pt x="1" y="0"/>
                </a:cubicBezTo>
                <a:cubicBezTo>
                  <a:pt x="1" y="3"/>
                  <a:pt x="1" y="5"/>
                  <a:pt x="0" y="8"/>
                </a:cubicBezTo>
                <a:cubicBezTo>
                  <a:pt x="0" y="7"/>
                  <a:pt x="1" y="7"/>
                  <a:pt x="1" y="7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7" name="Freeform 63">
            <a:extLst>
              <a:ext uri="{FF2B5EF4-FFF2-40B4-BE49-F238E27FC236}">
                <a16:creationId xmlns:a16="http://schemas.microsoft.com/office/drawing/2014/main" id="{706EEE0B-33AD-4AF0-AD32-0F4799C758C1}"/>
              </a:ext>
            </a:extLst>
          </p:cNvPr>
          <p:cNvSpPr>
            <a:spLocks/>
          </p:cNvSpPr>
          <p:nvPr userDrawn="1"/>
        </p:nvSpPr>
        <p:spPr bwMode="auto">
          <a:xfrm>
            <a:off x="7656513" y="6269038"/>
            <a:ext cx="1588" cy="12700"/>
          </a:xfrm>
          <a:custGeom>
            <a:avLst/>
            <a:gdLst>
              <a:gd name="T0" fmla="*/ 0 w 1"/>
              <a:gd name="T1" fmla="*/ 4 h 8"/>
              <a:gd name="T2" fmla="*/ 1 w 1"/>
              <a:gd name="T3" fmla="*/ 7 h 8"/>
              <a:gd name="T4" fmla="*/ 1 w 1"/>
              <a:gd name="T5" fmla="*/ 8 h 8"/>
              <a:gd name="T6" fmla="*/ 0 w 1"/>
              <a:gd name="T7" fmla="*/ 0 h 8"/>
              <a:gd name="T8" fmla="*/ 0 w 1"/>
              <a:gd name="T9" fmla="*/ 4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8">
                <a:moveTo>
                  <a:pt x="0" y="4"/>
                </a:moveTo>
                <a:cubicBezTo>
                  <a:pt x="0" y="5"/>
                  <a:pt x="1" y="6"/>
                  <a:pt x="1" y="7"/>
                </a:cubicBezTo>
                <a:cubicBezTo>
                  <a:pt x="1" y="7"/>
                  <a:pt x="1" y="7"/>
                  <a:pt x="1" y="8"/>
                </a:cubicBezTo>
                <a:cubicBezTo>
                  <a:pt x="1" y="5"/>
                  <a:pt x="0" y="3"/>
                  <a:pt x="0" y="0"/>
                </a:cubicBezTo>
                <a:cubicBezTo>
                  <a:pt x="0" y="1"/>
                  <a:pt x="0" y="2"/>
                  <a:pt x="0" y="4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8" name="Freeform 64">
            <a:extLst>
              <a:ext uri="{FF2B5EF4-FFF2-40B4-BE49-F238E27FC236}">
                <a16:creationId xmlns:a16="http://schemas.microsoft.com/office/drawing/2014/main" id="{3E452ECE-0429-4BFD-BBDE-AFE05CB1A5BB}"/>
              </a:ext>
            </a:extLst>
          </p:cNvPr>
          <p:cNvSpPr>
            <a:spLocks/>
          </p:cNvSpPr>
          <p:nvPr userDrawn="1"/>
        </p:nvSpPr>
        <p:spPr bwMode="auto">
          <a:xfrm>
            <a:off x="8270875" y="6286500"/>
            <a:ext cx="1588" cy="11113"/>
          </a:xfrm>
          <a:custGeom>
            <a:avLst/>
            <a:gdLst>
              <a:gd name="T0" fmla="*/ 0 w 1"/>
              <a:gd name="T1" fmla="*/ 6 h 7"/>
              <a:gd name="T2" fmla="*/ 1 w 1"/>
              <a:gd name="T3" fmla="*/ 2 h 7"/>
              <a:gd name="T4" fmla="*/ 1 w 1"/>
              <a:gd name="T5" fmla="*/ 0 h 7"/>
              <a:gd name="T6" fmla="*/ 0 w 1"/>
              <a:gd name="T7" fmla="*/ 7 h 7"/>
              <a:gd name="T8" fmla="*/ 0 w 1"/>
              <a:gd name="T9" fmla="*/ 6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7">
                <a:moveTo>
                  <a:pt x="0" y="6"/>
                </a:moveTo>
                <a:cubicBezTo>
                  <a:pt x="0" y="5"/>
                  <a:pt x="0" y="3"/>
                  <a:pt x="1" y="2"/>
                </a:cubicBezTo>
                <a:cubicBezTo>
                  <a:pt x="1" y="1"/>
                  <a:pt x="1" y="0"/>
                  <a:pt x="1" y="0"/>
                </a:cubicBezTo>
                <a:cubicBezTo>
                  <a:pt x="1" y="2"/>
                  <a:pt x="0" y="5"/>
                  <a:pt x="0" y="7"/>
                </a:cubicBezTo>
                <a:cubicBezTo>
                  <a:pt x="0" y="7"/>
                  <a:pt x="0" y="6"/>
                  <a:pt x="0" y="6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0" name="Freeform 139">
            <a:extLst>
              <a:ext uri="{FF2B5EF4-FFF2-40B4-BE49-F238E27FC236}">
                <a16:creationId xmlns:a16="http://schemas.microsoft.com/office/drawing/2014/main" id="{900ABD75-6600-4D10-A837-A26EB469D362}"/>
              </a:ext>
            </a:extLst>
          </p:cNvPr>
          <p:cNvSpPr>
            <a:spLocks/>
          </p:cNvSpPr>
          <p:nvPr userDrawn="1"/>
        </p:nvSpPr>
        <p:spPr bwMode="auto">
          <a:xfrm>
            <a:off x="3922713" y="6294438"/>
            <a:ext cx="1588" cy="6350"/>
          </a:xfrm>
          <a:custGeom>
            <a:avLst/>
            <a:gdLst>
              <a:gd name="T0" fmla="*/ 0 w 1"/>
              <a:gd name="T1" fmla="*/ 1 h 4"/>
              <a:gd name="T2" fmla="*/ 1 w 1"/>
              <a:gd name="T3" fmla="*/ 4 h 4"/>
              <a:gd name="T4" fmla="*/ 1 w 1"/>
              <a:gd name="T5" fmla="*/ 4 h 4"/>
              <a:gd name="T6" fmla="*/ 0 w 1"/>
              <a:gd name="T7" fmla="*/ 0 h 4"/>
              <a:gd name="T8" fmla="*/ 0 w 1"/>
              <a:gd name="T9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4">
                <a:moveTo>
                  <a:pt x="0" y="1"/>
                </a:moveTo>
                <a:cubicBezTo>
                  <a:pt x="1" y="2"/>
                  <a:pt x="1" y="3"/>
                  <a:pt x="1" y="4"/>
                </a:cubicBezTo>
                <a:cubicBezTo>
                  <a:pt x="1" y="4"/>
                  <a:pt x="1" y="4"/>
                  <a:pt x="1" y="4"/>
                </a:cubicBezTo>
                <a:cubicBezTo>
                  <a:pt x="1" y="3"/>
                  <a:pt x="1" y="2"/>
                  <a:pt x="0" y="0"/>
                </a:cubicBezTo>
                <a:cubicBezTo>
                  <a:pt x="0" y="1"/>
                  <a:pt x="0" y="1"/>
                  <a:pt x="0" y="1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1" name="Freeform 140">
            <a:extLst>
              <a:ext uri="{FF2B5EF4-FFF2-40B4-BE49-F238E27FC236}">
                <a16:creationId xmlns:a16="http://schemas.microsoft.com/office/drawing/2014/main" id="{EB9ADFBD-BE79-45EE-8417-AC6E0F5C40CB}"/>
              </a:ext>
            </a:extLst>
          </p:cNvPr>
          <p:cNvSpPr>
            <a:spLocks/>
          </p:cNvSpPr>
          <p:nvPr userDrawn="1"/>
        </p:nvSpPr>
        <p:spPr bwMode="auto">
          <a:xfrm>
            <a:off x="8258175" y="6330950"/>
            <a:ext cx="3175" cy="7938"/>
          </a:xfrm>
          <a:custGeom>
            <a:avLst/>
            <a:gdLst>
              <a:gd name="T0" fmla="*/ 2 w 2"/>
              <a:gd name="T1" fmla="*/ 2 h 5"/>
              <a:gd name="T2" fmla="*/ 2 w 2"/>
              <a:gd name="T3" fmla="*/ 0 h 5"/>
              <a:gd name="T4" fmla="*/ 0 w 2"/>
              <a:gd name="T5" fmla="*/ 5 h 5"/>
              <a:gd name="T6" fmla="*/ 2 w 2"/>
              <a:gd name="T7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5">
                <a:moveTo>
                  <a:pt x="2" y="2"/>
                </a:moveTo>
                <a:cubicBezTo>
                  <a:pt x="2" y="1"/>
                  <a:pt x="2" y="1"/>
                  <a:pt x="2" y="0"/>
                </a:cubicBezTo>
                <a:cubicBezTo>
                  <a:pt x="2" y="2"/>
                  <a:pt x="1" y="3"/>
                  <a:pt x="0" y="5"/>
                </a:cubicBezTo>
                <a:cubicBezTo>
                  <a:pt x="1" y="4"/>
                  <a:pt x="1" y="3"/>
                  <a:pt x="2" y="2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2" name="Freeform 141">
            <a:extLst>
              <a:ext uri="{FF2B5EF4-FFF2-40B4-BE49-F238E27FC236}">
                <a16:creationId xmlns:a16="http://schemas.microsoft.com/office/drawing/2014/main" id="{55702DEE-E19D-4DD2-B123-F6BA594672BC}"/>
              </a:ext>
            </a:extLst>
          </p:cNvPr>
          <p:cNvSpPr>
            <a:spLocks/>
          </p:cNvSpPr>
          <p:nvPr userDrawn="1"/>
        </p:nvSpPr>
        <p:spPr bwMode="auto">
          <a:xfrm>
            <a:off x="7661275" y="6300788"/>
            <a:ext cx="3175" cy="9525"/>
          </a:xfrm>
          <a:custGeom>
            <a:avLst/>
            <a:gdLst>
              <a:gd name="T0" fmla="*/ 0 w 2"/>
              <a:gd name="T1" fmla="*/ 2 h 6"/>
              <a:gd name="T2" fmla="*/ 2 w 2"/>
              <a:gd name="T3" fmla="*/ 6 h 6"/>
              <a:gd name="T4" fmla="*/ 2 w 2"/>
              <a:gd name="T5" fmla="*/ 6 h 6"/>
              <a:gd name="T6" fmla="*/ 0 w 2"/>
              <a:gd name="T7" fmla="*/ 0 h 6"/>
              <a:gd name="T8" fmla="*/ 0 w 2"/>
              <a:gd name="T9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6">
                <a:moveTo>
                  <a:pt x="0" y="2"/>
                </a:moveTo>
                <a:cubicBezTo>
                  <a:pt x="1" y="3"/>
                  <a:pt x="1" y="5"/>
                  <a:pt x="2" y="6"/>
                </a:cubicBezTo>
                <a:cubicBezTo>
                  <a:pt x="2" y="6"/>
                  <a:pt x="2" y="6"/>
                  <a:pt x="2" y="6"/>
                </a:cubicBezTo>
                <a:cubicBezTo>
                  <a:pt x="1" y="4"/>
                  <a:pt x="1" y="2"/>
                  <a:pt x="0" y="0"/>
                </a:cubicBezTo>
                <a:cubicBezTo>
                  <a:pt x="0" y="1"/>
                  <a:pt x="0" y="1"/>
                  <a:pt x="0" y="2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3" name="Freeform 142">
            <a:extLst>
              <a:ext uri="{FF2B5EF4-FFF2-40B4-BE49-F238E27FC236}">
                <a16:creationId xmlns:a16="http://schemas.microsoft.com/office/drawing/2014/main" id="{89F5B8D3-F502-4E25-9E81-FEBC263053DA}"/>
              </a:ext>
            </a:extLst>
          </p:cNvPr>
          <p:cNvSpPr>
            <a:spLocks/>
          </p:cNvSpPr>
          <p:nvPr userDrawn="1"/>
        </p:nvSpPr>
        <p:spPr bwMode="auto">
          <a:xfrm>
            <a:off x="8262938" y="6326188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4" name="Freeform 143">
            <a:extLst>
              <a:ext uri="{FF2B5EF4-FFF2-40B4-BE49-F238E27FC236}">
                <a16:creationId xmlns:a16="http://schemas.microsoft.com/office/drawing/2014/main" id="{C3BB7A4F-5794-4BBD-9626-DA1E2C82D6CC}"/>
              </a:ext>
            </a:extLst>
          </p:cNvPr>
          <p:cNvSpPr>
            <a:spLocks/>
          </p:cNvSpPr>
          <p:nvPr userDrawn="1"/>
        </p:nvSpPr>
        <p:spPr bwMode="auto">
          <a:xfrm>
            <a:off x="8267700" y="6300788"/>
            <a:ext cx="1588" cy="9525"/>
          </a:xfrm>
          <a:custGeom>
            <a:avLst/>
            <a:gdLst>
              <a:gd name="T0" fmla="*/ 0 w 1"/>
              <a:gd name="T1" fmla="*/ 6 h 6"/>
              <a:gd name="T2" fmla="*/ 1 w 1"/>
              <a:gd name="T3" fmla="*/ 1 h 6"/>
              <a:gd name="T4" fmla="*/ 1 w 1"/>
              <a:gd name="T5" fmla="*/ 0 h 6"/>
              <a:gd name="T6" fmla="*/ 0 w 1"/>
              <a:gd name="T7" fmla="*/ 6 h 6"/>
              <a:gd name="T8" fmla="*/ 0 w 1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6">
                <a:moveTo>
                  <a:pt x="0" y="6"/>
                </a:moveTo>
                <a:cubicBezTo>
                  <a:pt x="0" y="4"/>
                  <a:pt x="1" y="3"/>
                  <a:pt x="1" y="1"/>
                </a:cubicBezTo>
                <a:cubicBezTo>
                  <a:pt x="1" y="1"/>
                  <a:pt x="1" y="0"/>
                  <a:pt x="1" y="0"/>
                </a:cubicBezTo>
                <a:cubicBezTo>
                  <a:pt x="1" y="2"/>
                  <a:pt x="0" y="4"/>
                  <a:pt x="0" y="6"/>
                </a:cubicBezTo>
                <a:cubicBezTo>
                  <a:pt x="0" y="6"/>
                  <a:pt x="0" y="6"/>
                  <a:pt x="0" y="6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5" name="Freeform 144">
            <a:extLst>
              <a:ext uri="{FF2B5EF4-FFF2-40B4-BE49-F238E27FC236}">
                <a16:creationId xmlns:a16="http://schemas.microsoft.com/office/drawing/2014/main" id="{5E8CC8D3-735B-4E6F-B4EE-E09CF865ECAC}"/>
              </a:ext>
            </a:extLst>
          </p:cNvPr>
          <p:cNvSpPr>
            <a:spLocks/>
          </p:cNvSpPr>
          <p:nvPr userDrawn="1"/>
        </p:nvSpPr>
        <p:spPr bwMode="auto">
          <a:xfrm>
            <a:off x="7658100" y="6286500"/>
            <a:ext cx="3175" cy="11113"/>
          </a:xfrm>
          <a:custGeom>
            <a:avLst/>
            <a:gdLst>
              <a:gd name="T0" fmla="*/ 1 w 2"/>
              <a:gd name="T1" fmla="*/ 2 h 7"/>
              <a:gd name="T2" fmla="*/ 2 w 2"/>
              <a:gd name="T3" fmla="*/ 6 h 7"/>
              <a:gd name="T4" fmla="*/ 2 w 2"/>
              <a:gd name="T5" fmla="*/ 7 h 7"/>
              <a:gd name="T6" fmla="*/ 0 w 2"/>
              <a:gd name="T7" fmla="*/ 0 h 7"/>
              <a:gd name="T8" fmla="*/ 1 w 2"/>
              <a:gd name="T9" fmla="*/ 2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7">
                <a:moveTo>
                  <a:pt x="1" y="2"/>
                </a:moveTo>
                <a:cubicBezTo>
                  <a:pt x="1" y="3"/>
                  <a:pt x="1" y="5"/>
                  <a:pt x="2" y="6"/>
                </a:cubicBezTo>
                <a:cubicBezTo>
                  <a:pt x="2" y="6"/>
                  <a:pt x="2" y="7"/>
                  <a:pt x="2" y="7"/>
                </a:cubicBezTo>
                <a:cubicBezTo>
                  <a:pt x="1" y="4"/>
                  <a:pt x="1" y="2"/>
                  <a:pt x="0" y="0"/>
                </a:cubicBezTo>
                <a:cubicBezTo>
                  <a:pt x="0" y="0"/>
                  <a:pt x="1" y="1"/>
                  <a:pt x="1" y="2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6" name="Freeform 145">
            <a:extLst>
              <a:ext uri="{FF2B5EF4-FFF2-40B4-BE49-F238E27FC236}">
                <a16:creationId xmlns:a16="http://schemas.microsoft.com/office/drawing/2014/main" id="{05B7E6EB-3100-4246-8D97-8821E13F75D9}"/>
              </a:ext>
            </a:extLst>
          </p:cNvPr>
          <p:cNvSpPr>
            <a:spLocks/>
          </p:cNvSpPr>
          <p:nvPr userDrawn="1"/>
        </p:nvSpPr>
        <p:spPr bwMode="auto">
          <a:xfrm>
            <a:off x="8272463" y="6269038"/>
            <a:ext cx="1588" cy="12700"/>
          </a:xfrm>
          <a:custGeom>
            <a:avLst/>
            <a:gdLst>
              <a:gd name="T0" fmla="*/ 1 w 1"/>
              <a:gd name="T1" fmla="*/ 7 h 8"/>
              <a:gd name="T2" fmla="*/ 1 w 1"/>
              <a:gd name="T3" fmla="*/ 4 h 8"/>
              <a:gd name="T4" fmla="*/ 1 w 1"/>
              <a:gd name="T5" fmla="*/ 0 h 8"/>
              <a:gd name="T6" fmla="*/ 0 w 1"/>
              <a:gd name="T7" fmla="*/ 8 h 8"/>
              <a:gd name="T8" fmla="*/ 1 w 1"/>
              <a:gd name="T9" fmla="*/ 7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8">
                <a:moveTo>
                  <a:pt x="1" y="7"/>
                </a:moveTo>
                <a:cubicBezTo>
                  <a:pt x="1" y="6"/>
                  <a:pt x="1" y="5"/>
                  <a:pt x="1" y="4"/>
                </a:cubicBezTo>
                <a:cubicBezTo>
                  <a:pt x="1" y="2"/>
                  <a:pt x="1" y="1"/>
                  <a:pt x="1" y="0"/>
                </a:cubicBezTo>
                <a:cubicBezTo>
                  <a:pt x="1" y="3"/>
                  <a:pt x="1" y="5"/>
                  <a:pt x="0" y="8"/>
                </a:cubicBezTo>
                <a:cubicBezTo>
                  <a:pt x="0" y="7"/>
                  <a:pt x="1" y="7"/>
                  <a:pt x="1" y="7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7" name="Freeform 146">
            <a:extLst>
              <a:ext uri="{FF2B5EF4-FFF2-40B4-BE49-F238E27FC236}">
                <a16:creationId xmlns:a16="http://schemas.microsoft.com/office/drawing/2014/main" id="{F67DD3B8-D490-45DD-971D-EE2213C55EEF}"/>
              </a:ext>
            </a:extLst>
          </p:cNvPr>
          <p:cNvSpPr>
            <a:spLocks/>
          </p:cNvSpPr>
          <p:nvPr userDrawn="1"/>
        </p:nvSpPr>
        <p:spPr bwMode="auto">
          <a:xfrm>
            <a:off x="7656513" y="6269038"/>
            <a:ext cx="1588" cy="12700"/>
          </a:xfrm>
          <a:custGeom>
            <a:avLst/>
            <a:gdLst>
              <a:gd name="T0" fmla="*/ 0 w 1"/>
              <a:gd name="T1" fmla="*/ 4 h 8"/>
              <a:gd name="T2" fmla="*/ 1 w 1"/>
              <a:gd name="T3" fmla="*/ 7 h 8"/>
              <a:gd name="T4" fmla="*/ 1 w 1"/>
              <a:gd name="T5" fmla="*/ 8 h 8"/>
              <a:gd name="T6" fmla="*/ 0 w 1"/>
              <a:gd name="T7" fmla="*/ 0 h 8"/>
              <a:gd name="T8" fmla="*/ 0 w 1"/>
              <a:gd name="T9" fmla="*/ 4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8">
                <a:moveTo>
                  <a:pt x="0" y="4"/>
                </a:moveTo>
                <a:cubicBezTo>
                  <a:pt x="0" y="5"/>
                  <a:pt x="1" y="6"/>
                  <a:pt x="1" y="7"/>
                </a:cubicBezTo>
                <a:cubicBezTo>
                  <a:pt x="1" y="7"/>
                  <a:pt x="1" y="7"/>
                  <a:pt x="1" y="8"/>
                </a:cubicBezTo>
                <a:cubicBezTo>
                  <a:pt x="1" y="5"/>
                  <a:pt x="0" y="3"/>
                  <a:pt x="0" y="0"/>
                </a:cubicBezTo>
                <a:cubicBezTo>
                  <a:pt x="0" y="1"/>
                  <a:pt x="0" y="2"/>
                  <a:pt x="0" y="4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8" name="Freeform 147">
            <a:extLst>
              <a:ext uri="{FF2B5EF4-FFF2-40B4-BE49-F238E27FC236}">
                <a16:creationId xmlns:a16="http://schemas.microsoft.com/office/drawing/2014/main" id="{6F7C1B32-6450-4130-935B-3B12C7ED407C}"/>
              </a:ext>
            </a:extLst>
          </p:cNvPr>
          <p:cNvSpPr>
            <a:spLocks/>
          </p:cNvSpPr>
          <p:nvPr userDrawn="1"/>
        </p:nvSpPr>
        <p:spPr bwMode="auto">
          <a:xfrm>
            <a:off x="8270875" y="6286500"/>
            <a:ext cx="1588" cy="11113"/>
          </a:xfrm>
          <a:custGeom>
            <a:avLst/>
            <a:gdLst>
              <a:gd name="T0" fmla="*/ 0 w 1"/>
              <a:gd name="T1" fmla="*/ 6 h 7"/>
              <a:gd name="T2" fmla="*/ 1 w 1"/>
              <a:gd name="T3" fmla="*/ 2 h 7"/>
              <a:gd name="T4" fmla="*/ 1 w 1"/>
              <a:gd name="T5" fmla="*/ 0 h 7"/>
              <a:gd name="T6" fmla="*/ 0 w 1"/>
              <a:gd name="T7" fmla="*/ 7 h 7"/>
              <a:gd name="T8" fmla="*/ 0 w 1"/>
              <a:gd name="T9" fmla="*/ 6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7">
                <a:moveTo>
                  <a:pt x="0" y="6"/>
                </a:moveTo>
                <a:cubicBezTo>
                  <a:pt x="0" y="5"/>
                  <a:pt x="0" y="3"/>
                  <a:pt x="1" y="2"/>
                </a:cubicBezTo>
                <a:cubicBezTo>
                  <a:pt x="1" y="1"/>
                  <a:pt x="1" y="0"/>
                  <a:pt x="1" y="0"/>
                </a:cubicBezTo>
                <a:cubicBezTo>
                  <a:pt x="1" y="2"/>
                  <a:pt x="0" y="5"/>
                  <a:pt x="0" y="7"/>
                </a:cubicBezTo>
                <a:cubicBezTo>
                  <a:pt x="0" y="7"/>
                  <a:pt x="0" y="6"/>
                  <a:pt x="0" y="6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3" name="Freeform 178">
            <a:extLst>
              <a:ext uri="{FF2B5EF4-FFF2-40B4-BE49-F238E27FC236}">
                <a16:creationId xmlns:a16="http://schemas.microsoft.com/office/drawing/2014/main" id="{DFCB360C-4B46-4B94-AB03-9B71E5AB7030}"/>
              </a:ext>
            </a:extLst>
          </p:cNvPr>
          <p:cNvSpPr>
            <a:spLocks/>
          </p:cNvSpPr>
          <p:nvPr userDrawn="1"/>
        </p:nvSpPr>
        <p:spPr bwMode="auto">
          <a:xfrm>
            <a:off x="8258175" y="6330950"/>
            <a:ext cx="3175" cy="7938"/>
          </a:xfrm>
          <a:custGeom>
            <a:avLst/>
            <a:gdLst>
              <a:gd name="T0" fmla="*/ 2 w 2"/>
              <a:gd name="T1" fmla="*/ 2 h 5"/>
              <a:gd name="T2" fmla="*/ 2 w 2"/>
              <a:gd name="T3" fmla="*/ 0 h 5"/>
              <a:gd name="T4" fmla="*/ 0 w 2"/>
              <a:gd name="T5" fmla="*/ 5 h 5"/>
              <a:gd name="T6" fmla="*/ 2 w 2"/>
              <a:gd name="T7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" h="5">
                <a:moveTo>
                  <a:pt x="2" y="2"/>
                </a:moveTo>
                <a:cubicBezTo>
                  <a:pt x="2" y="1"/>
                  <a:pt x="2" y="1"/>
                  <a:pt x="2" y="0"/>
                </a:cubicBezTo>
                <a:cubicBezTo>
                  <a:pt x="2" y="2"/>
                  <a:pt x="1" y="3"/>
                  <a:pt x="0" y="5"/>
                </a:cubicBezTo>
                <a:cubicBezTo>
                  <a:pt x="1" y="4"/>
                  <a:pt x="1" y="3"/>
                  <a:pt x="2" y="2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4" name="Freeform 179">
            <a:extLst>
              <a:ext uri="{FF2B5EF4-FFF2-40B4-BE49-F238E27FC236}">
                <a16:creationId xmlns:a16="http://schemas.microsoft.com/office/drawing/2014/main" id="{413F5F0C-40A2-4040-BDC0-F78072FA8B1A}"/>
              </a:ext>
            </a:extLst>
          </p:cNvPr>
          <p:cNvSpPr>
            <a:spLocks/>
          </p:cNvSpPr>
          <p:nvPr userDrawn="1"/>
        </p:nvSpPr>
        <p:spPr bwMode="auto">
          <a:xfrm>
            <a:off x="7661275" y="6300788"/>
            <a:ext cx="3175" cy="9525"/>
          </a:xfrm>
          <a:custGeom>
            <a:avLst/>
            <a:gdLst>
              <a:gd name="T0" fmla="*/ 0 w 2"/>
              <a:gd name="T1" fmla="*/ 2 h 6"/>
              <a:gd name="T2" fmla="*/ 2 w 2"/>
              <a:gd name="T3" fmla="*/ 6 h 6"/>
              <a:gd name="T4" fmla="*/ 2 w 2"/>
              <a:gd name="T5" fmla="*/ 6 h 6"/>
              <a:gd name="T6" fmla="*/ 0 w 2"/>
              <a:gd name="T7" fmla="*/ 0 h 6"/>
              <a:gd name="T8" fmla="*/ 0 w 2"/>
              <a:gd name="T9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6">
                <a:moveTo>
                  <a:pt x="0" y="2"/>
                </a:moveTo>
                <a:cubicBezTo>
                  <a:pt x="1" y="3"/>
                  <a:pt x="1" y="5"/>
                  <a:pt x="2" y="6"/>
                </a:cubicBezTo>
                <a:cubicBezTo>
                  <a:pt x="2" y="6"/>
                  <a:pt x="2" y="6"/>
                  <a:pt x="2" y="6"/>
                </a:cubicBezTo>
                <a:cubicBezTo>
                  <a:pt x="1" y="4"/>
                  <a:pt x="1" y="2"/>
                  <a:pt x="0" y="0"/>
                </a:cubicBezTo>
                <a:cubicBezTo>
                  <a:pt x="0" y="1"/>
                  <a:pt x="0" y="1"/>
                  <a:pt x="0" y="2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5" name="Freeform 180">
            <a:extLst>
              <a:ext uri="{FF2B5EF4-FFF2-40B4-BE49-F238E27FC236}">
                <a16:creationId xmlns:a16="http://schemas.microsoft.com/office/drawing/2014/main" id="{4AF803D8-7AEA-4B52-BEFF-DE728B9C0735}"/>
              </a:ext>
            </a:extLst>
          </p:cNvPr>
          <p:cNvSpPr>
            <a:spLocks/>
          </p:cNvSpPr>
          <p:nvPr userDrawn="1"/>
        </p:nvSpPr>
        <p:spPr bwMode="auto">
          <a:xfrm>
            <a:off x="8262938" y="6326188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6" name="Freeform 181">
            <a:extLst>
              <a:ext uri="{FF2B5EF4-FFF2-40B4-BE49-F238E27FC236}">
                <a16:creationId xmlns:a16="http://schemas.microsoft.com/office/drawing/2014/main" id="{1163B89D-6C8F-432F-A70B-567DB02E1072}"/>
              </a:ext>
            </a:extLst>
          </p:cNvPr>
          <p:cNvSpPr>
            <a:spLocks/>
          </p:cNvSpPr>
          <p:nvPr userDrawn="1"/>
        </p:nvSpPr>
        <p:spPr bwMode="auto">
          <a:xfrm>
            <a:off x="8267700" y="6300788"/>
            <a:ext cx="1588" cy="9525"/>
          </a:xfrm>
          <a:custGeom>
            <a:avLst/>
            <a:gdLst>
              <a:gd name="T0" fmla="*/ 0 w 1"/>
              <a:gd name="T1" fmla="*/ 6 h 6"/>
              <a:gd name="T2" fmla="*/ 1 w 1"/>
              <a:gd name="T3" fmla="*/ 1 h 6"/>
              <a:gd name="T4" fmla="*/ 1 w 1"/>
              <a:gd name="T5" fmla="*/ 0 h 6"/>
              <a:gd name="T6" fmla="*/ 0 w 1"/>
              <a:gd name="T7" fmla="*/ 6 h 6"/>
              <a:gd name="T8" fmla="*/ 0 w 1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6">
                <a:moveTo>
                  <a:pt x="0" y="6"/>
                </a:moveTo>
                <a:cubicBezTo>
                  <a:pt x="0" y="4"/>
                  <a:pt x="1" y="3"/>
                  <a:pt x="1" y="1"/>
                </a:cubicBezTo>
                <a:cubicBezTo>
                  <a:pt x="1" y="1"/>
                  <a:pt x="1" y="0"/>
                  <a:pt x="1" y="0"/>
                </a:cubicBezTo>
                <a:cubicBezTo>
                  <a:pt x="1" y="2"/>
                  <a:pt x="0" y="4"/>
                  <a:pt x="0" y="6"/>
                </a:cubicBezTo>
                <a:cubicBezTo>
                  <a:pt x="0" y="6"/>
                  <a:pt x="0" y="6"/>
                  <a:pt x="0" y="6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7" name="Freeform 182">
            <a:extLst>
              <a:ext uri="{FF2B5EF4-FFF2-40B4-BE49-F238E27FC236}">
                <a16:creationId xmlns:a16="http://schemas.microsoft.com/office/drawing/2014/main" id="{FE799750-37BF-4025-8A7F-6B61D70B67C0}"/>
              </a:ext>
            </a:extLst>
          </p:cNvPr>
          <p:cNvSpPr>
            <a:spLocks/>
          </p:cNvSpPr>
          <p:nvPr userDrawn="1"/>
        </p:nvSpPr>
        <p:spPr bwMode="auto">
          <a:xfrm>
            <a:off x="7658100" y="6286500"/>
            <a:ext cx="3175" cy="11113"/>
          </a:xfrm>
          <a:custGeom>
            <a:avLst/>
            <a:gdLst>
              <a:gd name="T0" fmla="*/ 1 w 2"/>
              <a:gd name="T1" fmla="*/ 2 h 7"/>
              <a:gd name="T2" fmla="*/ 2 w 2"/>
              <a:gd name="T3" fmla="*/ 6 h 7"/>
              <a:gd name="T4" fmla="*/ 2 w 2"/>
              <a:gd name="T5" fmla="*/ 7 h 7"/>
              <a:gd name="T6" fmla="*/ 0 w 2"/>
              <a:gd name="T7" fmla="*/ 0 h 7"/>
              <a:gd name="T8" fmla="*/ 1 w 2"/>
              <a:gd name="T9" fmla="*/ 2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7">
                <a:moveTo>
                  <a:pt x="1" y="2"/>
                </a:moveTo>
                <a:cubicBezTo>
                  <a:pt x="1" y="3"/>
                  <a:pt x="1" y="5"/>
                  <a:pt x="2" y="6"/>
                </a:cubicBezTo>
                <a:cubicBezTo>
                  <a:pt x="2" y="6"/>
                  <a:pt x="2" y="7"/>
                  <a:pt x="2" y="7"/>
                </a:cubicBezTo>
                <a:cubicBezTo>
                  <a:pt x="1" y="4"/>
                  <a:pt x="1" y="2"/>
                  <a:pt x="0" y="0"/>
                </a:cubicBezTo>
                <a:cubicBezTo>
                  <a:pt x="0" y="0"/>
                  <a:pt x="1" y="1"/>
                  <a:pt x="1" y="2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8" name="Freeform 183">
            <a:extLst>
              <a:ext uri="{FF2B5EF4-FFF2-40B4-BE49-F238E27FC236}">
                <a16:creationId xmlns:a16="http://schemas.microsoft.com/office/drawing/2014/main" id="{29BE4316-73D1-4DAE-B39A-2F149A2056F9}"/>
              </a:ext>
            </a:extLst>
          </p:cNvPr>
          <p:cNvSpPr>
            <a:spLocks/>
          </p:cNvSpPr>
          <p:nvPr userDrawn="1"/>
        </p:nvSpPr>
        <p:spPr bwMode="auto">
          <a:xfrm>
            <a:off x="8272463" y="6269038"/>
            <a:ext cx="1588" cy="12700"/>
          </a:xfrm>
          <a:custGeom>
            <a:avLst/>
            <a:gdLst>
              <a:gd name="T0" fmla="*/ 1 w 1"/>
              <a:gd name="T1" fmla="*/ 7 h 8"/>
              <a:gd name="T2" fmla="*/ 1 w 1"/>
              <a:gd name="T3" fmla="*/ 4 h 8"/>
              <a:gd name="T4" fmla="*/ 1 w 1"/>
              <a:gd name="T5" fmla="*/ 0 h 8"/>
              <a:gd name="T6" fmla="*/ 0 w 1"/>
              <a:gd name="T7" fmla="*/ 8 h 8"/>
              <a:gd name="T8" fmla="*/ 1 w 1"/>
              <a:gd name="T9" fmla="*/ 7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8">
                <a:moveTo>
                  <a:pt x="1" y="7"/>
                </a:moveTo>
                <a:cubicBezTo>
                  <a:pt x="1" y="6"/>
                  <a:pt x="1" y="5"/>
                  <a:pt x="1" y="4"/>
                </a:cubicBezTo>
                <a:cubicBezTo>
                  <a:pt x="1" y="2"/>
                  <a:pt x="1" y="1"/>
                  <a:pt x="1" y="0"/>
                </a:cubicBezTo>
                <a:cubicBezTo>
                  <a:pt x="1" y="3"/>
                  <a:pt x="1" y="5"/>
                  <a:pt x="0" y="8"/>
                </a:cubicBezTo>
                <a:cubicBezTo>
                  <a:pt x="0" y="7"/>
                  <a:pt x="1" y="7"/>
                  <a:pt x="1" y="7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29" name="Freeform 184">
            <a:extLst>
              <a:ext uri="{FF2B5EF4-FFF2-40B4-BE49-F238E27FC236}">
                <a16:creationId xmlns:a16="http://schemas.microsoft.com/office/drawing/2014/main" id="{D5870B21-4CDE-46A7-B988-C1220E745149}"/>
              </a:ext>
            </a:extLst>
          </p:cNvPr>
          <p:cNvSpPr>
            <a:spLocks/>
          </p:cNvSpPr>
          <p:nvPr userDrawn="1"/>
        </p:nvSpPr>
        <p:spPr bwMode="auto">
          <a:xfrm>
            <a:off x="7656513" y="6269038"/>
            <a:ext cx="1588" cy="12700"/>
          </a:xfrm>
          <a:custGeom>
            <a:avLst/>
            <a:gdLst>
              <a:gd name="T0" fmla="*/ 0 w 1"/>
              <a:gd name="T1" fmla="*/ 4 h 8"/>
              <a:gd name="T2" fmla="*/ 1 w 1"/>
              <a:gd name="T3" fmla="*/ 7 h 8"/>
              <a:gd name="T4" fmla="*/ 1 w 1"/>
              <a:gd name="T5" fmla="*/ 8 h 8"/>
              <a:gd name="T6" fmla="*/ 0 w 1"/>
              <a:gd name="T7" fmla="*/ 0 h 8"/>
              <a:gd name="T8" fmla="*/ 0 w 1"/>
              <a:gd name="T9" fmla="*/ 4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8">
                <a:moveTo>
                  <a:pt x="0" y="4"/>
                </a:moveTo>
                <a:cubicBezTo>
                  <a:pt x="0" y="5"/>
                  <a:pt x="1" y="6"/>
                  <a:pt x="1" y="7"/>
                </a:cubicBezTo>
                <a:cubicBezTo>
                  <a:pt x="1" y="7"/>
                  <a:pt x="1" y="7"/>
                  <a:pt x="1" y="8"/>
                </a:cubicBezTo>
                <a:cubicBezTo>
                  <a:pt x="1" y="5"/>
                  <a:pt x="0" y="3"/>
                  <a:pt x="0" y="0"/>
                </a:cubicBezTo>
                <a:cubicBezTo>
                  <a:pt x="0" y="1"/>
                  <a:pt x="0" y="2"/>
                  <a:pt x="0" y="4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0" name="Freeform 185">
            <a:extLst>
              <a:ext uri="{FF2B5EF4-FFF2-40B4-BE49-F238E27FC236}">
                <a16:creationId xmlns:a16="http://schemas.microsoft.com/office/drawing/2014/main" id="{B82D7DA7-E41F-47B4-A463-0390CCD66BDA}"/>
              </a:ext>
            </a:extLst>
          </p:cNvPr>
          <p:cNvSpPr>
            <a:spLocks/>
          </p:cNvSpPr>
          <p:nvPr userDrawn="1"/>
        </p:nvSpPr>
        <p:spPr bwMode="auto">
          <a:xfrm>
            <a:off x="8270875" y="6286500"/>
            <a:ext cx="1588" cy="11113"/>
          </a:xfrm>
          <a:custGeom>
            <a:avLst/>
            <a:gdLst>
              <a:gd name="T0" fmla="*/ 0 w 1"/>
              <a:gd name="T1" fmla="*/ 6 h 7"/>
              <a:gd name="T2" fmla="*/ 1 w 1"/>
              <a:gd name="T3" fmla="*/ 2 h 7"/>
              <a:gd name="T4" fmla="*/ 1 w 1"/>
              <a:gd name="T5" fmla="*/ 0 h 7"/>
              <a:gd name="T6" fmla="*/ 0 w 1"/>
              <a:gd name="T7" fmla="*/ 7 h 7"/>
              <a:gd name="T8" fmla="*/ 0 w 1"/>
              <a:gd name="T9" fmla="*/ 6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7">
                <a:moveTo>
                  <a:pt x="0" y="6"/>
                </a:moveTo>
                <a:cubicBezTo>
                  <a:pt x="0" y="5"/>
                  <a:pt x="0" y="3"/>
                  <a:pt x="1" y="2"/>
                </a:cubicBezTo>
                <a:cubicBezTo>
                  <a:pt x="1" y="1"/>
                  <a:pt x="1" y="0"/>
                  <a:pt x="1" y="0"/>
                </a:cubicBezTo>
                <a:cubicBezTo>
                  <a:pt x="1" y="2"/>
                  <a:pt x="0" y="5"/>
                  <a:pt x="0" y="7"/>
                </a:cubicBezTo>
                <a:cubicBezTo>
                  <a:pt x="0" y="7"/>
                  <a:pt x="0" y="6"/>
                  <a:pt x="0" y="6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2" name="Text Placeholder 11">
            <a:extLst>
              <a:ext uri="{FF2B5EF4-FFF2-40B4-BE49-F238E27FC236}">
                <a16:creationId xmlns:a16="http://schemas.microsoft.com/office/drawing/2014/main" id="{4C6310DE-64D5-42C4-BB4F-78392BC969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0080" y="1186691"/>
            <a:ext cx="2600008" cy="105156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33" name="Text Placeholder 11">
            <a:extLst>
              <a:ext uri="{FF2B5EF4-FFF2-40B4-BE49-F238E27FC236}">
                <a16:creationId xmlns:a16="http://schemas.microsoft.com/office/drawing/2014/main" id="{7B1A4FCE-88D2-40CD-A28B-C4B6CB2E76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40089" y="3424943"/>
            <a:ext cx="2612072" cy="2518658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7596808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Oval 161">
            <a:extLst>
              <a:ext uri="{FF2B5EF4-FFF2-40B4-BE49-F238E27FC236}">
                <a16:creationId xmlns:a16="http://schemas.microsoft.com/office/drawing/2014/main" id="{8F68BC4F-6C2F-4051-8C13-AE62178C7233}"/>
              </a:ext>
            </a:extLst>
          </p:cNvPr>
          <p:cNvSpPr/>
          <p:nvPr userDrawn="1"/>
        </p:nvSpPr>
        <p:spPr>
          <a:xfrm>
            <a:off x="7761485" y="2716410"/>
            <a:ext cx="5889230" cy="588923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ACEA4DED-E97D-4A13-9F64-37B302FC69DB}"/>
              </a:ext>
            </a:extLst>
          </p:cNvPr>
          <p:cNvGrpSpPr/>
          <p:nvPr userDrawn="1"/>
        </p:nvGrpSpPr>
        <p:grpSpPr>
          <a:xfrm>
            <a:off x="209323" y="-1588"/>
            <a:ext cx="2193925" cy="6858001"/>
            <a:chOff x="4999038" y="-1588"/>
            <a:chExt cx="2193925" cy="6858001"/>
          </a:xfrm>
          <a:solidFill>
            <a:schemeClr val="tx2">
              <a:lumMod val="85000"/>
            </a:schemeClr>
          </a:solidFill>
        </p:grpSpPr>
        <p:sp>
          <p:nvSpPr>
            <p:cNvPr id="8" name="Oval 5">
              <a:extLst>
                <a:ext uri="{FF2B5EF4-FFF2-40B4-BE49-F238E27FC236}">
                  <a16:creationId xmlns:a16="http://schemas.microsoft.com/office/drawing/2014/main" id="{14E26584-501F-4750-BACE-FED4269BB5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6659563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Oval 6">
              <a:extLst>
                <a:ext uri="{FF2B5EF4-FFF2-40B4-BE49-F238E27FC236}">
                  <a16:creationId xmlns:a16="http://schemas.microsoft.com/office/drawing/2014/main" id="{6B8EBD00-A7D4-405F-B169-1ECA14564AE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6327775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7">
              <a:extLst>
                <a:ext uri="{FF2B5EF4-FFF2-40B4-BE49-F238E27FC236}">
                  <a16:creationId xmlns:a16="http://schemas.microsoft.com/office/drawing/2014/main" id="{6B4500C9-B90D-45D5-A0F1-6F88F497948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5994400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8">
              <a:extLst>
                <a:ext uri="{FF2B5EF4-FFF2-40B4-BE49-F238E27FC236}">
                  <a16:creationId xmlns:a16="http://schemas.microsoft.com/office/drawing/2014/main" id="{003F7743-4FCC-4C3A-9B3C-249DED7AC4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5661025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Oval 9">
              <a:extLst>
                <a:ext uri="{FF2B5EF4-FFF2-40B4-BE49-F238E27FC236}">
                  <a16:creationId xmlns:a16="http://schemas.microsoft.com/office/drawing/2014/main" id="{9BF81F83-31D8-4F77-A926-2C6E360123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5327650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Oval 10">
              <a:extLst>
                <a:ext uri="{FF2B5EF4-FFF2-40B4-BE49-F238E27FC236}">
                  <a16:creationId xmlns:a16="http://schemas.microsoft.com/office/drawing/2014/main" id="{61D754A7-6F85-4FCC-ACE4-7DD3FE3EC2F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4994275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Oval 11">
              <a:extLst>
                <a:ext uri="{FF2B5EF4-FFF2-40B4-BE49-F238E27FC236}">
                  <a16:creationId xmlns:a16="http://schemas.microsoft.com/office/drawing/2014/main" id="{93747301-DF82-46E2-ADFE-9F469CE4F3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4662488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Oval 12">
              <a:extLst>
                <a:ext uri="{FF2B5EF4-FFF2-40B4-BE49-F238E27FC236}">
                  <a16:creationId xmlns:a16="http://schemas.microsoft.com/office/drawing/2014/main" id="{690A4CE5-DCD5-4F75-8C34-E3A8ABD1969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4329113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Oval 13">
              <a:extLst>
                <a:ext uri="{FF2B5EF4-FFF2-40B4-BE49-F238E27FC236}">
                  <a16:creationId xmlns:a16="http://schemas.microsoft.com/office/drawing/2014/main" id="{3E392D74-64C2-4AD5-B274-B9164BCE15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3995738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Oval 14">
              <a:extLst>
                <a:ext uri="{FF2B5EF4-FFF2-40B4-BE49-F238E27FC236}">
                  <a16:creationId xmlns:a16="http://schemas.microsoft.com/office/drawing/2014/main" id="{919A732A-D40B-482B-BE67-21E576AB8D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3662363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Oval 15">
              <a:extLst>
                <a:ext uri="{FF2B5EF4-FFF2-40B4-BE49-F238E27FC236}">
                  <a16:creationId xmlns:a16="http://schemas.microsoft.com/office/drawing/2014/main" id="{AD606F2C-E0F1-4A76-AA06-FD8919DAB9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3328988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16">
              <a:extLst>
                <a:ext uri="{FF2B5EF4-FFF2-40B4-BE49-F238E27FC236}">
                  <a16:creationId xmlns:a16="http://schemas.microsoft.com/office/drawing/2014/main" id="{5A248FAE-98FD-404D-9626-263B5F55B3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2995613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Oval 17">
              <a:extLst>
                <a:ext uri="{FF2B5EF4-FFF2-40B4-BE49-F238E27FC236}">
                  <a16:creationId xmlns:a16="http://schemas.microsoft.com/office/drawing/2014/main" id="{0CFAD463-AF12-44D6-98A1-AEE4D43910D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2663825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18">
              <a:extLst>
                <a:ext uri="{FF2B5EF4-FFF2-40B4-BE49-F238E27FC236}">
                  <a16:creationId xmlns:a16="http://schemas.microsoft.com/office/drawing/2014/main" id="{F3E3BC4F-3344-403B-A6E1-2932CE1B763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2330450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19">
              <a:extLst>
                <a:ext uri="{FF2B5EF4-FFF2-40B4-BE49-F238E27FC236}">
                  <a16:creationId xmlns:a16="http://schemas.microsoft.com/office/drawing/2014/main" id="{EEF10043-A79D-4863-9AD2-A226BAB6D0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1997075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20">
              <a:extLst>
                <a:ext uri="{FF2B5EF4-FFF2-40B4-BE49-F238E27FC236}">
                  <a16:creationId xmlns:a16="http://schemas.microsoft.com/office/drawing/2014/main" id="{2639F8AB-545D-4DFB-BDED-47779E7E822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1663700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21">
              <a:extLst>
                <a:ext uri="{FF2B5EF4-FFF2-40B4-BE49-F238E27FC236}">
                  <a16:creationId xmlns:a16="http://schemas.microsoft.com/office/drawing/2014/main" id="{08E30EB0-EF40-4E80-B015-050C643C913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1330325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22">
              <a:extLst>
                <a:ext uri="{FF2B5EF4-FFF2-40B4-BE49-F238E27FC236}">
                  <a16:creationId xmlns:a16="http://schemas.microsoft.com/office/drawing/2014/main" id="{FF10E6DA-A97D-4807-B027-8AA77B615B7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996950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Oval 23">
              <a:extLst>
                <a:ext uri="{FF2B5EF4-FFF2-40B4-BE49-F238E27FC236}">
                  <a16:creationId xmlns:a16="http://schemas.microsoft.com/office/drawing/2014/main" id="{50D27EFC-A746-4323-A4D5-8CF2F07CBB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665163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24">
              <a:extLst>
                <a:ext uri="{FF2B5EF4-FFF2-40B4-BE49-F238E27FC236}">
                  <a16:creationId xmlns:a16="http://schemas.microsoft.com/office/drawing/2014/main" id="{22E47210-182B-4F44-AA76-B4A27997881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331788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25">
              <a:extLst>
                <a:ext uri="{FF2B5EF4-FFF2-40B4-BE49-F238E27FC236}">
                  <a16:creationId xmlns:a16="http://schemas.microsoft.com/office/drawing/2014/main" id="{27E5EA26-4B58-4431-9854-E397C8ABB6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996113" y="-1588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26">
              <a:extLst>
                <a:ext uri="{FF2B5EF4-FFF2-40B4-BE49-F238E27FC236}">
                  <a16:creationId xmlns:a16="http://schemas.microsoft.com/office/drawing/2014/main" id="{5ED79628-1142-41AE-8ACC-B4177201BC5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6659563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27">
              <a:extLst>
                <a:ext uri="{FF2B5EF4-FFF2-40B4-BE49-F238E27FC236}">
                  <a16:creationId xmlns:a16="http://schemas.microsoft.com/office/drawing/2014/main" id="{D1902627-5503-4238-8873-753547625D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6327775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28">
              <a:extLst>
                <a:ext uri="{FF2B5EF4-FFF2-40B4-BE49-F238E27FC236}">
                  <a16:creationId xmlns:a16="http://schemas.microsoft.com/office/drawing/2014/main" id="{EE604B92-08F4-4106-A340-B7AFA6D429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5994400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29">
              <a:extLst>
                <a:ext uri="{FF2B5EF4-FFF2-40B4-BE49-F238E27FC236}">
                  <a16:creationId xmlns:a16="http://schemas.microsoft.com/office/drawing/2014/main" id="{52E763E2-B103-43D0-8B8F-444861812FB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5661025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30">
              <a:extLst>
                <a:ext uri="{FF2B5EF4-FFF2-40B4-BE49-F238E27FC236}">
                  <a16:creationId xmlns:a16="http://schemas.microsoft.com/office/drawing/2014/main" id="{54625308-6C69-4690-AC7E-A9AC26EB3BF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5327650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31">
              <a:extLst>
                <a:ext uri="{FF2B5EF4-FFF2-40B4-BE49-F238E27FC236}">
                  <a16:creationId xmlns:a16="http://schemas.microsoft.com/office/drawing/2014/main" id="{20FF69D4-F187-46FB-8E3E-63847FD8C67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4994275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32">
              <a:extLst>
                <a:ext uri="{FF2B5EF4-FFF2-40B4-BE49-F238E27FC236}">
                  <a16:creationId xmlns:a16="http://schemas.microsoft.com/office/drawing/2014/main" id="{FD45DDC9-B353-44E8-9F46-389BA9FBD8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4662488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33">
              <a:extLst>
                <a:ext uri="{FF2B5EF4-FFF2-40B4-BE49-F238E27FC236}">
                  <a16:creationId xmlns:a16="http://schemas.microsoft.com/office/drawing/2014/main" id="{F2488DE0-4B12-4916-A92D-D9D6041A94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4329113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34">
              <a:extLst>
                <a:ext uri="{FF2B5EF4-FFF2-40B4-BE49-F238E27FC236}">
                  <a16:creationId xmlns:a16="http://schemas.microsoft.com/office/drawing/2014/main" id="{AF6EAEE8-00A5-41B8-B385-11C163C76A3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3995738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35">
              <a:extLst>
                <a:ext uri="{FF2B5EF4-FFF2-40B4-BE49-F238E27FC236}">
                  <a16:creationId xmlns:a16="http://schemas.microsoft.com/office/drawing/2014/main" id="{BD196166-6F8B-4DA3-8E37-73F790B270D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3662363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36">
              <a:extLst>
                <a:ext uri="{FF2B5EF4-FFF2-40B4-BE49-F238E27FC236}">
                  <a16:creationId xmlns:a16="http://schemas.microsoft.com/office/drawing/2014/main" id="{EFF3943E-48FC-43EE-931E-66E022CABE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3328988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37">
              <a:extLst>
                <a:ext uri="{FF2B5EF4-FFF2-40B4-BE49-F238E27FC236}">
                  <a16:creationId xmlns:a16="http://schemas.microsoft.com/office/drawing/2014/main" id="{494AA187-F72E-4E0E-A324-41C0C6CFE1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2995613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38">
              <a:extLst>
                <a:ext uri="{FF2B5EF4-FFF2-40B4-BE49-F238E27FC236}">
                  <a16:creationId xmlns:a16="http://schemas.microsoft.com/office/drawing/2014/main" id="{94475AA1-E57E-4DA7-A8E1-F5BD08A67EE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2663825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39">
              <a:extLst>
                <a:ext uri="{FF2B5EF4-FFF2-40B4-BE49-F238E27FC236}">
                  <a16:creationId xmlns:a16="http://schemas.microsoft.com/office/drawing/2014/main" id="{2D254B27-9CBA-4E04-9FA8-0DD56C9CED3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2330450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Oval 40">
              <a:extLst>
                <a:ext uri="{FF2B5EF4-FFF2-40B4-BE49-F238E27FC236}">
                  <a16:creationId xmlns:a16="http://schemas.microsoft.com/office/drawing/2014/main" id="{3161BF73-D5B9-47B4-982A-B13B8D6801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1997075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Oval 41">
              <a:extLst>
                <a:ext uri="{FF2B5EF4-FFF2-40B4-BE49-F238E27FC236}">
                  <a16:creationId xmlns:a16="http://schemas.microsoft.com/office/drawing/2014/main" id="{FE07BB3D-9D1F-49A0-B1F1-72FFDBB09E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1663700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Oval 42">
              <a:extLst>
                <a:ext uri="{FF2B5EF4-FFF2-40B4-BE49-F238E27FC236}">
                  <a16:creationId xmlns:a16="http://schemas.microsoft.com/office/drawing/2014/main" id="{905D044C-B9C5-41B2-BE59-7A5CE85059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1330325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Oval 43">
              <a:extLst>
                <a:ext uri="{FF2B5EF4-FFF2-40B4-BE49-F238E27FC236}">
                  <a16:creationId xmlns:a16="http://schemas.microsoft.com/office/drawing/2014/main" id="{3F87972C-3CB6-41A8-BD5D-F6048B40BC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996950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Oval 44">
              <a:extLst>
                <a:ext uri="{FF2B5EF4-FFF2-40B4-BE49-F238E27FC236}">
                  <a16:creationId xmlns:a16="http://schemas.microsoft.com/office/drawing/2014/main" id="{6767977F-48CE-4522-A04D-8CDCEBB95C6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665163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Oval 45">
              <a:extLst>
                <a:ext uri="{FF2B5EF4-FFF2-40B4-BE49-F238E27FC236}">
                  <a16:creationId xmlns:a16="http://schemas.microsoft.com/office/drawing/2014/main" id="{69FCE4C1-705A-45A9-81B7-999CA9B5E42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331788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Oval 46">
              <a:extLst>
                <a:ext uri="{FF2B5EF4-FFF2-40B4-BE49-F238E27FC236}">
                  <a16:creationId xmlns:a16="http://schemas.microsoft.com/office/drawing/2014/main" id="{D4827876-F4C5-420C-939E-5F7795BF083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664325" y="-1588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Oval 47">
              <a:extLst>
                <a:ext uri="{FF2B5EF4-FFF2-40B4-BE49-F238E27FC236}">
                  <a16:creationId xmlns:a16="http://schemas.microsoft.com/office/drawing/2014/main" id="{C3133514-7506-4865-A7AC-3CEBE0CBCA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6659563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Oval 48">
              <a:extLst>
                <a:ext uri="{FF2B5EF4-FFF2-40B4-BE49-F238E27FC236}">
                  <a16:creationId xmlns:a16="http://schemas.microsoft.com/office/drawing/2014/main" id="{94765FF5-7AE8-46AA-AB7E-9CC7D91B848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6327775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Oval 49">
              <a:extLst>
                <a:ext uri="{FF2B5EF4-FFF2-40B4-BE49-F238E27FC236}">
                  <a16:creationId xmlns:a16="http://schemas.microsoft.com/office/drawing/2014/main" id="{678ED8F8-C719-4A3F-B061-FA6B36B3D0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5994400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Oval 50">
              <a:extLst>
                <a:ext uri="{FF2B5EF4-FFF2-40B4-BE49-F238E27FC236}">
                  <a16:creationId xmlns:a16="http://schemas.microsoft.com/office/drawing/2014/main" id="{9FD84AE0-AE4F-46A6-9B63-571E25CE272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5661025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Oval 51">
              <a:extLst>
                <a:ext uri="{FF2B5EF4-FFF2-40B4-BE49-F238E27FC236}">
                  <a16:creationId xmlns:a16="http://schemas.microsoft.com/office/drawing/2014/main" id="{91C98CB8-B44A-405F-8E46-64EE5CFABDC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5327650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Oval 52">
              <a:extLst>
                <a:ext uri="{FF2B5EF4-FFF2-40B4-BE49-F238E27FC236}">
                  <a16:creationId xmlns:a16="http://schemas.microsoft.com/office/drawing/2014/main" id="{919F42A3-3AB2-499A-9D49-5B6C2BF558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4994275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Oval 53">
              <a:extLst>
                <a:ext uri="{FF2B5EF4-FFF2-40B4-BE49-F238E27FC236}">
                  <a16:creationId xmlns:a16="http://schemas.microsoft.com/office/drawing/2014/main" id="{246B9C8B-A2E8-4A27-BBA9-E61AEF8BAD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4662488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Oval 54">
              <a:extLst>
                <a:ext uri="{FF2B5EF4-FFF2-40B4-BE49-F238E27FC236}">
                  <a16:creationId xmlns:a16="http://schemas.microsoft.com/office/drawing/2014/main" id="{F865F2EB-F934-4709-AFB5-2A499344541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4329113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Oval 55">
              <a:extLst>
                <a:ext uri="{FF2B5EF4-FFF2-40B4-BE49-F238E27FC236}">
                  <a16:creationId xmlns:a16="http://schemas.microsoft.com/office/drawing/2014/main" id="{9863D6A3-32B9-4AF7-AEAE-0934B578DC2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3995738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Oval 56">
              <a:extLst>
                <a:ext uri="{FF2B5EF4-FFF2-40B4-BE49-F238E27FC236}">
                  <a16:creationId xmlns:a16="http://schemas.microsoft.com/office/drawing/2014/main" id="{E2AD80C0-6EB3-494A-9BC7-427F9F28BF2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3662363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Oval 57">
              <a:extLst>
                <a:ext uri="{FF2B5EF4-FFF2-40B4-BE49-F238E27FC236}">
                  <a16:creationId xmlns:a16="http://schemas.microsoft.com/office/drawing/2014/main" id="{6516A47E-7665-4DEF-8345-5B2C91DF22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3328988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Oval 58">
              <a:extLst>
                <a:ext uri="{FF2B5EF4-FFF2-40B4-BE49-F238E27FC236}">
                  <a16:creationId xmlns:a16="http://schemas.microsoft.com/office/drawing/2014/main" id="{4B81B71B-7FEC-432F-BB04-551F1A5930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2995613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Oval 59">
              <a:extLst>
                <a:ext uri="{FF2B5EF4-FFF2-40B4-BE49-F238E27FC236}">
                  <a16:creationId xmlns:a16="http://schemas.microsoft.com/office/drawing/2014/main" id="{E5DDE2B8-F00E-4B6B-A0FE-0CF342A1C6C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2663825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Oval 60">
              <a:extLst>
                <a:ext uri="{FF2B5EF4-FFF2-40B4-BE49-F238E27FC236}">
                  <a16:creationId xmlns:a16="http://schemas.microsoft.com/office/drawing/2014/main" id="{F03E2147-A61D-4BE8-B82F-2A17C48FE4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2330450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61">
              <a:extLst>
                <a:ext uri="{FF2B5EF4-FFF2-40B4-BE49-F238E27FC236}">
                  <a16:creationId xmlns:a16="http://schemas.microsoft.com/office/drawing/2014/main" id="{B7C33120-62AA-4956-9040-45DEC4AE4D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1997075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Oval 62">
              <a:extLst>
                <a:ext uri="{FF2B5EF4-FFF2-40B4-BE49-F238E27FC236}">
                  <a16:creationId xmlns:a16="http://schemas.microsoft.com/office/drawing/2014/main" id="{F6DB2A5E-74D1-433A-96F1-7D1BC0EB4F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1663700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Oval 63">
              <a:extLst>
                <a:ext uri="{FF2B5EF4-FFF2-40B4-BE49-F238E27FC236}">
                  <a16:creationId xmlns:a16="http://schemas.microsoft.com/office/drawing/2014/main" id="{DB12DCFE-BC0D-4577-9749-7E03E247E0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1330325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Oval 64">
              <a:extLst>
                <a:ext uri="{FF2B5EF4-FFF2-40B4-BE49-F238E27FC236}">
                  <a16:creationId xmlns:a16="http://schemas.microsoft.com/office/drawing/2014/main" id="{C9DECB42-6104-4112-8867-232B071519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996950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Oval 65">
              <a:extLst>
                <a:ext uri="{FF2B5EF4-FFF2-40B4-BE49-F238E27FC236}">
                  <a16:creationId xmlns:a16="http://schemas.microsoft.com/office/drawing/2014/main" id="{6D0DA219-1201-423B-A28D-DE3259FF10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665163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66">
              <a:extLst>
                <a:ext uri="{FF2B5EF4-FFF2-40B4-BE49-F238E27FC236}">
                  <a16:creationId xmlns:a16="http://schemas.microsoft.com/office/drawing/2014/main" id="{FF968529-E537-4B1D-B76D-B27F72DF777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331788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67">
              <a:extLst>
                <a:ext uri="{FF2B5EF4-FFF2-40B4-BE49-F238E27FC236}">
                  <a16:creationId xmlns:a16="http://schemas.microsoft.com/office/drawing/2014/main" id="{2DFB100E-2776-4479-83AF-9174EC917D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330950" y="-1588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68">
              <a:extLst>
                <a:ext uri="{FF2B5EF4-FFF2-40B4-BE49-F238E27FC236}">
                  <a16:creationId xmlns:a16="http://schemas.microsoft.com/office/drawing/2014/main" id="{2C389AD3-55CB-419B-8C64-B338976962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6659563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69">
              <a:extLst>
                <a:ext uri="{FF2B5EF4-FFF2-40B4-BE49-F238E27FC236}">
                  <a16:creationId xmlns:a16="http://schemas.microsoft.com/office/drawing/2014/main" id="{4882E1F6-24FB-46DF-AEC4-F7D794D4E6F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6327775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Oval 70">
              <a:extLst>
                <a:ext uri="{FF2B5EF4-FFF2-40B4-BE49-F238E27FC236}">
                  <a16:creationId xmlns:a16="http://schemas.microsoft.com/office/drawing/2014/main" id="{F299D222-E665-4B13-A7D6-9E7C88EEF7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5994400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Oval 71">
              <a:extLst>
                <a:ext uri="{FF2B5EF4-FFF2-40B4-BE49-F238E27FC236}">
                  <a16:creationId xmlns:a16="http://schemas.microsoft.com/office/drawing/2014/main" id="{07E1CB7F-9FEB-4328-9D9F-23D3FE485C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5661025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Oval 72">
              <a:extLst>
                <a:ext uri="{FF2B5EF4-FFF2-40B4-BE49-F238E27FC236}">
                  <a16:creationId xmlns:a16="http://schemas.microsoft.com/office/drawing/2014/main" id="{D281700B-AF32-4189-8532-4F048F249F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5327650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Oval 73">
              <a:extLst>
                <a:ext uri="{FF2B5EF4-FFF2-40B4-BE49-F238E27FC236}">
                  <a16:creationId xmlns:a16="http://schemas.microsoft.com/office/drawing/2014/main" id="{F1A051D4-E77B-4FBD-A1E2-FAA6EC8E70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4994275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Oval 74">
              <a:extLst>
                <a:ext uri="{FF2B5EF4-FFF2-40B4-BE49-F238E27FC236}">
                  <a16:creationId xmlns:a16="http://schemas.microsoft.com/office/drawing/2014/main" id="{CFCCF47A-D2D4-4285-8959-1AD17CBACE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4662488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Oval 75">
              <a:extLst>
                <a:ext uri="{FF2B5EF4-FFF2-40B4-BE49-F238E27FC236}">
                  <a16:creationId xmlns:a16="http://schemas.microsoft.com/office/drawing/2014/main" id="{6F597D68-D3FA-4BFF-ACB8-37D8E4108F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4329113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Oval 76">
              <a:extLst>
                <a:ext uri="{FF2B5EF4-FFF2-40B4-BE49-F238E27FC236}">
                  <a16:creationId xmlns:a16="http://schemas.microsoft.com/office/drawing/2014/main" id="{9C8A3F56-509E-405F-9577-43ABF230FF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3995738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Oval 77">
              <a:extLst>
                <a:ext uri="{FF2B5EF4-FFF2-40B4-BE49-F238E27FC236}">
                  <a16:creationId xmlns:a16="http://schemas.microsoft.com/office/drawing/2014/main" id="{4E72658A-95B9-4ADB-8C3C-BB742E117D5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3662363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Oval 78">
              <a:extLst>
                <a:ext uri="{FF2B5EF4-FFF2-40B4-BE49-F238E27FC236}">
                  <a16:creationId xmlns:a16="http://schemas.microsoft.com/office/drawing/2014/main" id="{6A5030E8-4FA9-42A7-B576-CF96FB10DDD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3328988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Oval 79">
              <a:extLst>
                <a:ext uri="{FF2B5EF4-FFF2-40B4-BE49-F238E27FC236}">
                  <a16:creationId xmlns:a16="http://schemas.microsoft.com/office/drawing/2014/main" id="{19142088-1841-478D-BA9C-D96590802F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2995613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Oval 80">
              <a:extLst>
                <a:ext uri="{FF2B5EF4-FFF2-40B4-BE49-F238E27FC236}">
                  <a16:creationId xmlns:a16="http://schemas.microsoft.com/office/drawing/2014/main" id="{915099E0-2355-4DF4-8EBF-3E2E36BD5C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2663825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Oval 81">
              <a:extLst>
                <a:ext uri="{FF2B5EF4-FFF2-40B4-BE49-F238E27FC236}">
                  <a16:creationId xmlns:a16="http://schemas.microsoft.com/office/drawing/2014/main" id="{4FFD5EA0-03AC-47C1-A1D2-2F818E5A0C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2330450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Oval 82">
              <a:extLst>
                <a:ext uri="{FF2B5EF4-FFF2-40B4-BE49-F238E27FC236}">
                  <a16:creationId xmlns:a16="http://schemas.microsoft.com/office/drawing/2014/main" id="{CC97D59A-7B72-4431-B69C-FE4D07C3F7F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1997075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Oval 83">
              <a:extLst>
                <a:ext uri="{FF2B5EF4-FFF2-40B4-BE49-F238E27FC236}">
                  <a16:creationId xmlns:a16="http://schemas.microsoft.com/office/drawing/2014/main" id="{7F7E1F0A-A029-412A-8273-6584EA0867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1663700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Oval 84">
              <a:extLst>
                <a:ext uri="{FF2B5EF4-FFF2-40B4-BE49-F238E27FC236}">
                  <a16:creationId xmlns:a16="http://schemas.microsoft.com/office/drawing/2014/main" id="{153CC3F6-2DF8-4E28-B517-D843F5749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1330325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Oval 85">
              <a:extLst>
                <a:ext uri="{FF2B5EF4-FFF2-40B4-BE49-F238E27FC236}">
                  <a16:creationId xmlns:a16="http://schemas.microsoft.com/office/drawing/2014/main" id="{F19BCAAF-3F71-457C-ACAB-8521E0F61A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996950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Oval 86">
              <a:extLst>
                <a:ext uri="{FF2B5EF4-FFF2-40B4-BE49-F238E27FC236}">
                  <a16:creationId xmlns:a16="http://schemas.microsoft.com/office/drawing/2014/main" id="{3E309629-0719-46D7-B8DD-A590E97BBF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665163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Oval 87">
              <a:extLst>
                <a:ext uri="{FF2B5EF4-FFF2-40B4-BE49-F238E27FC236}">
                  <a16:creationId xmlns:a16="http://schemas.microsoft.com/office/drawing/2014/main" id="{D83BC7AA-6757-4393-9BF9-3C488EDE1A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331788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Oval 88">
              <a:extLst>
                <a:ext uri="{FF2B5EF4-FFF2-40B4-BE49-F238E27FC236}">
                  <a16:creationId xmlns:a16="http://schemas.microsoft.com/office/drawing/2014/main" id="{A249A2E3-F377-434D-A235-8565B97E15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97575" y="-1588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Oval 89">
              <a:extLst>
                <a:ext uri="{FF2B5EF4-FFF2-40B4-BE49-F238E27FC236}">
                  <a16:creationId xmlns:a16="http://schemas.microsoft.com/office/drawing/2014/main" id="{4B69B9DC-A0FD-4CA8-9B1E-193F1FF286A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6659563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Oval 90">
              <a:extLst>
                <a:ext uri="{FF2B5EF4-FFF2-40B4-BE49-F238E27FC236}">
                  <a16:creationId xmlns:a16="http://schemas.microsoft.com/office/drawing/2014/main" id="{19EA8ECF-D283-4DA6-AEB6-644CE95A190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6327775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Oval 91">
              <a:extLst>
                <a:ext uri="{FF2B5EF4-FFF2-40B4-BE49-F238E27FC236}">
                  <a16:creationId xmlns:a16="http://schemas.microsoft.com/office/drawing/2014/main" id="{3B678CF2-A52A-4EB5-81A9-206969BBB6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5994400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Oval 92">
              <a:extLst>
                <a:ext uri="{FF2B5EF4-FFF2-40B4-BE49-F238E27FC236}">
                  <a16:creationId xmlns:a16="http://schemas.microsoft.com/office/drawing/2014/main" id="{F7613BF9-511E-405B-B5CF-F08DE98C2D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5661025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93">
              <a:extLst>
                <a:ext uri="{FF2B5EF4-FFF2-40B4-BE49-F238E27FC236}">
                  <a16:creationId xmlns:a16="http://schemas.microsoft.com/office/drawing/2014/main" id="{779552BE-7E0B-47F0-89FE-172DA76E509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5327650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Oval 94">
              <a:extLst>
                <a:ext uri="{FF2B5EF4-FFF2-40B4-BE49-F238E27FC236}">
                  <a16:creationId xmlns:a16="http://schemas.microsoft.com/office/drawing/2014/main" id="{7068A80F-B963-4987-9A4B-BACABF4944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4994275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Oval 95">
              <a:extLst>
                <a:ext uri="{FF2B5EF4-FFF2-40B4-BE49-F238E27FC236}">
                  <a16:creationId xmlns:a16="http://schemas.microsoft.com/office/drawing/2014/main" id="{FDFC578E-45E2-49CE-A8BA-B94A5575F2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4662488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96">
              <a:extLst>
                <a:ext uri="{FF2B5EF4-FFF2-40B4-BE49-F238E27FC236}">
                  <a16:creationId xmlns:a16="http://schemas.microsoft.com/office/drawing/2014/main" id="{D279BB99-A79F-459B-B4F8-7625B04125F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4329113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97">
              <a:extLst>
                <a:ext uri="{FF2B5EF4-FFF2-40B4-BE49-F238E27FC236}">
                  <a16:creationId xmlns:a16="http://schemas.microsoft.com/office/drawing/2014/main" id="{8453864B-F3E7-4B6A-A21D-21CCA4EEE91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3995738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98">
              <a:extLst>
                <a:ext uri="{FF2B5EF4-FFF2-40B4-BE49-F238E27FC236}">
                  <a16:creationId xmlns:a16="http://schemas.microsoft.com/office/drawing/2014/main" id="{1A8DC18D-2E21-4A56-BA44-C70278BAFB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3662363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99">
              <a:extLst>
                <a:ext uri="{FF2B5EF4-FFF2-40B4-BE49-F238E27FC236}">
                  <a16:creationId xmlns:a16="http://schemas.microsoft.com/office/drawing/2014/main" id="{70F2F8A5-1B5B-4336-9EB2-F7A29B3C5C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3328988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100">
              <a:extLst>
                <a:ext uri="{FF2B5EF4-FFF2-40B4-BE49-F238E27FC236}">
                  <a16:creationId xmlns:a16="http://schemas.microsoft.com/office/drawing/2014/main" id="{7B106B60-3C16-4930-9A00-49B4760599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2995613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101">
              <a:extLst>
                <a:ext uri="{FF2B5EF4-FFF2-40B4-BE49-F238E27FC236}">
                  <a16:creationId xmlns:a16="http://schemas.microsoft.com/office/drawing/2014/main" id="{241D3DDF-F7AB-4EA2-A1F9-221F45D7657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2663825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102">
              <a:extLst>
                <a:ext uri="{FF2B5EF4-FFF2-40B4-BE49-F238E27FC236}">
                  <a16:creationId xmlns:a16="http://schemas.microsoft.com/office/drawing/2014/main" id="{83224489-9E4A-471E-8141-359536BF641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2330450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103">
              <a:extLst>
                <a:ext uri="{FF2B5EF4-FFF2-40B4-BE49-F238E27FC236}">
                  <a16:creationId xmlns:a16="http://schemas.microsoft.com/office/drawing/2014/main" id="{29F74DE3-ED78-4DE2-86E7-7E3AAFCAE4E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1997075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104">
              <a:extLst>
                <a:ext uri="{FF2B5EF4-FFF2-40B4-BE49-F238E27FC236}">
                  <a16:creationId xmlns:a16="http://schemas.microsoft.com/office/drawing/2014/main" id="{FF8A3DA4-59A8-4B6E-9737-AFA46E722D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1663700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105">
              <a:extLst>
                <a:ext uri="{FF2B5EF4-FFF2-40B4-BE49-F238E27FC236}">
                  <a16:creationId xmlns:a16="http://schemas.microsoft.com/office/drawing/2014/main" id="{D63CD363-68F1-4838-8834-8FF53681D22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1330325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106">
              <a:extLst>
                <a:ext uri="{FF2B5EF4-FFF2-40B4-BE49-F238E27FC236}">
                  <a16:creationId xmlns:a16="http://schemas.microsoft.com/office/drawing/2014/main" id="{7781DD32-CDD8-4026-A8CB-D90A972189C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996950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107">
              <a:extLst>
                <a:ext uri="{FF2B5EF4-FFF2-40B4-BE49-F238E27FC236}">
                  <a16:creationId xmlns:a16="http://schemas.microsoft.com/office/drawing/2014/main" id="{54129FB6-04DC-4890-AF15-1790C6FA6BE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665163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108">
              <a:extLst>
                <a:ext uri="{FF2B5EF4-FFF2-40B4-BE49-F238E27FC236}">
                  <a16:creationId xmlns:a16="http://schemas.microsoft.com/office/drawing/2014/main" id="{DBAA281D-C96D-4397-B92F-3D97E852A8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331788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Oval 109">
              <a:extLst>
                <a:ext uri="{FF2B5EF4-FFF2-40B4-BE49-F238E27FC236}">
                  <a16:creationId xmlns:a16="http://schemas.microsoft.com/office/drawing/2014/main" id="{6D9D8C4A-8CBA-436B-9105-4EBFECFD7E1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4200" y="-1588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Oval 110">
              <a:extLst>
                <a:ext uri="{FF2B5EF4-FFF2-40B4-BE49-F238E27FC236}">
                  <a16:creationId xmlns:a16="http://schemas.microsoft.com/office/drawing/2014/main" id="{668C2FE5-1AC1-4D96-BECB-458B81BAD8C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6659563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Oval 111">
              <a:extLst>
                <a:ext uri="{FF2B5EF4-FFF2-40B4-BE49-F238E27FC236}">
                  <a16:creationId xmlns:a16="http://schemas.microsoft.com/office/drawing/2014/main" id="{2D9865B2-EB17-4FBC-9BA6-411F5A9CA8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6327775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Oval 112">
              <a:extLst>
                <a:ext uri="{FF2B5EF4-FFF2-40B4-BE49-F238E27FC236}">
                  <a16:creationId xmlns:a16="http://schemas.microsoft.com/office/drawing/2014/main" id="{9E279315-3592-4C02-9743-681E145D72D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5994400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Oval 113">
              <a:extLst>
                <a:ext uri="{FF2B5EF4-FFF2-40B4-BE49-F238E27FC236}">
                  <a16:creationId xmlns:a16="http://schemas.microsoft.com/office/drawing/2014/main" id="{BBAD966B-6F12-4EC9-92AB-CDDEE92A30F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5661025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Oval 114">
              <a:extLst>
                <a:ext uri="{FF2B5EF4-FFF2-40B4-BE49-F238E27FC236}">
                  <a16:creationId xmlns:a16="http://schemas.microsoft.com/office/drawing/2014/main" id="{3AB13ADC-026C-4DD5-A865-4965818C4B9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5327650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Oval 115">
              <a:extLst>
                <a:ext uri="{FF2B5EF4-FFF2-40B4-BE49-F238E27FC236}">
                  <a16:creationId xmlns:a16="http://schemas.microsoft.com/office/drawing/2014/main" id="{EAE14D97-8473-4F20-AD9C-ED6A8B877B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4994275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Oval 116">
              <a:extLst>
                <a:ext uri="{FF2B5EF4-FFF2-40B4-BE49-F238E27FC236}">
                  <a16:creationId xmlns:a16="http://schemas.microsoft.com/office/drawing/2014/main" id="{955BB6E0-855A-4CC2-9CD2-7E155F11043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4662488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Oval 117">
              <a:extLst>
                <a:ext uri="{FF2B5EF4-FFF2-40B4-BE49-F238E27FC236}">
                  <a16:creationId xmlns:a16="http://schemas.microsoft.com/office/drawing/2014/main" id="{D4508FF0-52F1-4554-BE8F-3800741D5B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4329113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Oval 118">
              <a:extLst>
                <a:ext uri="{FF2B5EF4-FFF2-40B4-BE49-F238E27FC236}">
                  <a16:creationId xmlns:a16="http://schemas.microsoft.com/office/drawing/2014/main" id="{BB852BF7-3CD3-4FFA-BDDF-D6B7EC831B8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3995738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Oval 119">
              <a:extLst>
                <a:ext uri="{FF2B5EF4-FFF2-40B4-BE49-F238E27FC236}">
                  <a16:creationId xmlns:a16="http://schemas.microsoft.com/office/drawing/2014/main" id="{670C56FC-360F-440E-B5FB-55E5A8F6B02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3662363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120">
              <a:extLst>
                <a:ext uri="{FF2B5EF4-FFF2-40B4-BE49-F238E27FC236}">
                  <a16:creationId xmlns:a16="http://schemas.microsoft.com/office/drawing/2014/main" id="{426BA3CE-225B-4F8B-9931-D6FB4EC3ACF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3328988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121">
              <a:extLst>
                <a:ext uri="{FF2B5EF4-FFF2-40B4-BE49-F238E27FC236}">
                  <a16:creationId xmlns:a16="http://schemas.microsoft.com/office/drawing/2014/main" id="{C31472FE-75A1-423C-AFA1-1E230D48FD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2995613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Oval 122">
              <a:extLst>
                <a:ext uri="{FF2B5EF4-FFF2-40B4-BE49-F238E27FC236}">
                  <a16:creationId xmlns:a16="http://schemas.microsoft.com/office/drawing/2014/main" id="{A584C253-E4E0-43AE-8D1A-70FAE7EB482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2663825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123">
              <a:extLst>
                <a:ext uri="{FF2B5EF4-FFF2-40B4-BE49-F238E27FC236}">
                  <a16:creationId xmlns:a16="http://schemas.microsoft.com/office/drawing/2014/main" id="{4A36EEC0-7581-4CCA-9091-ADEFDD5C86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2330450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" name="Oval 124">
              <a:extLst>
                <a:ext uri="{FF2B5EF4-FFF2-40B4-BE49-F238E27FC236}">
                  <a16:creationId xmlns:a16="http://schemas.microsoft.com/office/drawing/2014/main" id="{74FC8865-4AEB-4F52-856B-16F2AF00B7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1997075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" name="Oval 125">
              <a:extLst>
                <a:ext uri="{FF2B5EF4-FFF2-40B4-BE49-F238E27FC236}">
                  <a16:creationId xmlns:a16="http://schemas.microsoft.com/office/drawing/2014/main" id="{392DD41A-C205-4AA8-BB1F-0FB39CF1DC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1663700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" name="Oval 126">
              <a:extLst>
                <a:ext uri="{FF2B5EF4-FFF2-40B4-BE49-F238E27FC236}">
                  <a16:creationId xmlns:a16="http://schemas.microsoft.com/office/drawing/2014/main" id="{146B2F07-5930-43A6-B751-32125813B6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1330325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0" name="Oval 127">
              <a:extLst>
                <a:ext uri="{FF2B5EF4-FFF2-40B4-BE49-F238E27FC236}">
                  <a16:creationId xmlns:a16="http://schemas.microsoft.com/office/drawing/2014/main" id="{73BD13C2-678C-4310-A80C-70AC412349E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996950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1" name="Oval 128">
              <a:extLst>
                <a:ext uri="{FF2B5EF4-FFF2-40B4-BE49-F238E27FC236}">
                  <a16:creationId xmlns:a16="http://schemas.microsoft.com/office/drawing/2014/main" id="{33392E19-7CB9-4181-A471-3EC419BB47D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665163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2" name="Oval 129">
              <a:extLst>
                <a:ext uri="{FF2B5EF4-FFF2-40B4-BE49-F238E27FC236}">
                  <a16:creationId xmlns:a16="http://schemas.microsoft.com/office/drawing/2014/main" id="{4B14C2FB-553A-4E0A-AA7E-6AFD4B2D36A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331788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3" name="Oval 130">
              <a:extLst>
                <a:ext uri="{FF2B5EF4-FFF2-40B4-BE49-F238E27FC236}">
                  <a16:creationId xmlns:a16="http://schemas.microsoft.com/office/drawing/2014/main" id="{969D0B96-7A46-49DB-8546-AE4022032E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32413" y="-1588"/>
              <a:ext cx="195263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4" name="Oval 131">
              <a:extLst>
                <a:ext uri="{FF2B5EF4-FFF2-40B4-BE49-F238E27FC236}">
                  <a16:creationId xmlns:a16="http://schemas.microsoft.com/office/drawing/2014/main" id="{1F5C1FBD-DF70-4EB4-ACD8-61C8B4F041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6659563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5" name="Oval 132">
              <a:extLst>
                <a:ext uri="{FF2B5EF4-FFF2-40B4-BE49-F238E27FC236}">
                  <a16:creationId xmlns:a16="http://schemas.microsoft.com/office/drawing/2014/main" id="{A6653958-59E2-43EA-9AD9-D33950774BD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6327775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6" name="Oval 133">
              <a:extLst>
                <a:ext uri="{FF2B5EF4-FFF2-40B4-BE49-F238E27FC236}">
                  <a16:creationId xmlns:a16="http://schemas.microsoft.com/office/drawing/2014/main" id="{B49758A9-B980-4369-8668-ADED511FF6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5994400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7" name="Oval 134">
              <a:extLst>
                <a:ext uri="{FF2B5EF4-FFF2-40B4-BE49-F238E27FC236}">
                  <a16:creationId xmlns:a16="http://schemas.microsoft.com/office/drawing/2014/main" id="{DD62E565-E6C3-4312-A5FC-53BBAE573E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5661025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8" name="Oval 135">
              <a:extLst>
                <a:ext uri="{FF2B5EF4-FFF2-40B4-BE49-F238E27FC236}">
                  <a16:creationId xmlns:a16="http://schemas.microsoft.com/office/drawing/2014/main" id="{BB191EE8-9642-4891-BF46-44CB0F2C72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5327650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9" name="Oval 136">
              <a:extLst>
                <a:ext uri="{FF2B5EF4-FFF2-40B4-BE49-F238E27FC236}">
                  <a16:creationId xmlns:a16="http://schemas.microsoft.com/office/drawing/2014/main" id="{8B90CBF3-263E-4789-9834-AE1B0650B2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4994275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0" name="Oval 137">
              <a:extLst>
                <a:ext uri="{FF2B5EF4-FFF2-40B4-BE49-F238E27FC236}">
                  <a16:creationId xmlns:a16="http://schemas.microsoft.com/office/drawing/2014/main" id="{2FA17B3B-3F82-4F45-85BA-3812914D15C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4662488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1" name="Oval 138">
              <a:extLst>
                <a:ext uri="{FF2B5EF4-FFF2-40B4-BE49-F238E27FC236}">
                  <a16:creationId xmlns:a16="http://schemas.microsoft.com/office/drawing/2014/main" id="{936C21B2-1112-4F7A-A7ED-63DF8FC6C0F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4329113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2" name="Oval 139">
              <a:extLst>
                <a:ext uri="{FF2B5EF4-FFF2-40B4-BE49-F238E27FC236}">
                  <a16:creationId xmlns:a16="http://schemas.microsoft.com/office/drawing/2014/main" id="{52390802-1FC9-47EC-BA70-7AD814F7C08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3995738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3" name="Oval 140">
              <a:extLst>
                <a:ext uri="{FF2B5EF4-FFF2-40B4-BE49-F238E27FC236}">
                  <a16:creationId xmlns:a16="http://schemas.microsoft.com/office/drawing/2014/main" id="{9A9CC32F-1A15-4D68-8649-F8E15FB9A3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3662363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4" name="Oval 141">
              <a:extLst>
                <a:ext uri="{FF2B5EF4-FFF2-40B4-BE49-F238E27FC236}">
                  <a16:creationId xmlns:a16="http://schemas.microsoft.com/office/drawing/2014/main" id="{C1398828-8091-4DFE-90AE-0BA56D3176A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3328988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5" name="Oval 142">
              <a:extLst>
                <a:ext uri="{FF2B5EF4-FFF2-40B4-BE49-F238E27FC236}">
                  <a16:creationId xmlns:a16="http://schemas.microsoft.com/office/drawing/2014/main" id="{0A1F4F3A-05A6-4596-8B10-FFA2D3BFDFB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2995613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6" name="Oval 143">
              <a:extLst>
                <a:ext uri="{FF2B5EF4-FFF2-40B4-BE49-F238E27FC236}">
                  <a16:creationId xmlns:a16="http://schemas.microsoft.com/office/drawing/2014/main" id="{F3DB143E-7950-45C7-9B56-EB29C1D8EE7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2663825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7" name="Oval 144">
              <a:extLst>
                <a:ext uri="{FF2B5EF4-FFF2-40B4-BE49-F238E27FC236}">
                  <a16:creationId xmlns:a16="http://schemas.microsoft.com/office/drawing/2014/main" id="{D087B2DA-D9A5-44A7-BB1D-3ABF29A4098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2330450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8" name="Oval 145">
              <a:extLst>
                <a:ext uri="{FF2B5EF4-FFF2-40B4-BE49-F238E27FC236}">
                  <a16:creationId xmlns:a16="http://schemas.microsoft.com/office/drawing/2014/main" id="{CD5A1AC7-F71E-43F0-A722-4AC9FEBD19F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1997075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9" name="Oval 146">
              <a:extLst>
                <a:ext uri="{FF2B5EF4-FFF2-40B4-BE49-F238E27FC236}">
                  <a16:creationId xmlns:a16="http://schemas.microsoft.com/office/drawing/2014/main" id="{02443CED-20D8-4B28-9829-FC00B12461D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1663700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0" name="Oval 147">
              <a:extLst>
                <a:ext uri="{FF2B5EF4-FFF2-40B4-BE49-F238E27FC236}">
                  <a16:creationId xmlns:a16="http://schemas.microsoft.com/office/drawing/2014/main" id="{ADDED2D6-82EC-479E-84BC-185B6DFE6F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1330325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1" name="Oval 148">
              <a:extLst>
                <a:ext uri="{FF2B5EF4-FFF2-40B4-BE49-F238E27FC236}">
                  <a16:creationId xmlns:a16="http://schemas.microsoft.com/office/drawing/2014/main" id="{D4BD094F-7598-4274-AF97-21D3882FB44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996950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2" name="Oval 149">
              <a:extLst>
                <a:ext uri="{FF2B5EF4-FFF2-40B4-BE49-F238E27FC236}">
                  <a16:creationId xmlns:a16="http://schemas.microsoft.com/office/drawing/2014/main" id="{66D6B1BA-3118-4DDA-A43B-CB681956BBF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665163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3" name="Oval 150">
              <a:extLst>
                <a:ext uri="{FF2B5EF4-FFF2-40B4-BE49-F238E27FC236}">
                  <a16:creationId xmlns:a16="http://schemas.microsoft.com/office/drawing/2014/main" id="{C78EC97C-BB98-4C32-8E6B-8AEBA5B200A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331788"/>
              <a:ext cx="196850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4" name="Oval 151">
              <a:extLst>
                <a:ext uri="{FF2B5EF4-FFF2-40B4-BE49-F238E27FC236}">
                  <a16:creationId xmlns:a16="http://schemas.microsoft.com/office/drawing/2014/main" id="{8C210FA6-A948-40DE-AACE-86154893934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99038" y="-1588"/>
              <a:ext cx="196850" cy="196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1" name="Picture Placeholder 160">
            <a:extLst>
              <a:ext uri="{FF2B5EF4-FFF2-40B4-BE49-F238E27FC236}">
                <a16:creationId xmlns:a16="http://schemas.microsoft.com/office/drawing/2014/main" id="{D0667578-9946-4E77-98F8-4D23AF93792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698" y="1110344"/>
            <a:ext cx="4634140" cy="4634138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58" name="Text Placeholder 11">
            <a:extLst>
              <a:ext uri="{FF2B5EF4-FFF2-40B4-BE49-F238E27FC236}">
                <a16:creationId xmlns:a16="http://schemas.microsoft.com/office/drawing/2014/main" id="{8A20762D-7A80-4DD7-BB73-8D0C382E3A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3610" y="1572986"/>
            <a:ext cx="3489190" cy="105156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59" name="Text Placeholder 11">
            <a:extLst>
              <a:ext uri="{FF2B5EF4-FFF2-40B4-BE49-F238E27FC236}">
                <a16:creationId xmlns:a16="http://schemas.microsoft.com/office/drawing/2014/main" id="{4B667777-6AD9-41A5-970F-13F96D980B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62800" y="3424943"/>
            <a:ext cx="3543300" cy="231953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accent6">
                    <a:lumMod val="90000"/>
                    <a:lumOff val="1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36868883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6310" y="6382238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F3A107-CC28-4702-A91D-34554464D5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79371" y="1012371"/>
            <a:ext cx="4833258" cy="4833258"/>
          </a:xfrm>
          <a:custGeom>
            <a:avLst/>
            <a:gdLst>
              <a:gd name="connsiteX0" fmla="*/ 2656114 w 5312228"/>
              <a:gd name="connsiteY0" fmla="*/ 1404257 h 5312228"/>
              <a:gd name="connsiteX1" fmla="*/ 1404257 w 5312228"/>
              <a:gd name="connsiteY1" fmla="*/ 2656114 h 5312228"/>
              <a:gd name="connsiteX2" fmla="*/ 2656114 w 5312228"/>
              <a:gd name="connsiteY2" fmla="*/ 3907971 h 5312228"/>
              <a:gd name="connsiteX3" fmla="*/ 3907971 w 5312228"/>
              <a:gd name="connsiteY3" fmla="*/ 2656114 h 5312228"/>
              <a:gd name="connsiteX4" fmla="*/ 2656114 w 5312228"/>
              <a:gd name="connsiteY4" fmla="*/ 1404257 h 5312228"/>
              <a:gd name="connsiteX5" fmla="*/ 2656114 w 5312228"/>
              <a:gd name="connsiteY5" fmla="*/ 0 h 5312228"/>
              <a:gd name="connsiteX6" fmla="*/ 5312228 w 5312228"/>
              <a:gd name="connsiteY6" fmla="*/ 2656114 h 5312228"/>
              <a:gd name="connsiteX7" fmla="*/ 2656114 w 5312228"/>
              <a:gd name="connsiteY7" fmla="*/ 5312228 h 5312228"/>
              <a:gd name="connsiteX8" fmla="*/ 0 w 5312228"/>
              <a:gd name="connsiteY8" fmla="*/ 2656114 h 5312228"/>
              <a:gd name="connsiteX9" fmla="*/ 2656114 w 5312228"/>
              <a:gd name="connsiteY9" fmla="*/ 0 h 5312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312228" h="5312228">
                <a:moveTo>
                  <a:pt x="2656114" y="1404257"/>
                </a:moveTo>
                <a:cubicBezTo>
                  <a:pt x="1964732" y="1404257"/>
                  <a:pt x="1404257" y="1964732"/>
                  <a:pt x="1404257" y="2656114"/>
                </a:cubicBezTo>
                <a:cubicBezTo>
                  <a:pt x="1404257" y="3347496"/>
                  <a:pt x="1964732" y="3907971"/>
                  <a:pt x="2656114" y="3907971"/>
                </a:cubicBezTo>
                <a:cubicBezTo>
                  <a:pt x="3347496" y="3907971"/>
                  <a:pt x="3907971" y="3347496"/>
                  <a:pt x="3907971" y="2656114"/>
                </a:cubicBezTo>
                <a:cubicBezTo>
                  <a:pt x="3907971" y="1964732"/>
                  <a:pt x="3347496" y="1404257"/>
                  <a:pt x="2656114" y="1404257"/>
                </a:cubicBezTo>
                <a:close/>
                <a:moveTo>
                  <a:pt x="2656114" y="0"/>
                </a:moveTo>
                <a:cubicBezTo>
                  <a:pt x="4123045" y="0"/>
                  <a:pt x="5312228" y="1189183"/>
                  <a:pt x="5312228" y="2656114"/>
                </a:cubicBezTo>
                <a:cubicBezTo>
                  <a:pt x="5312228" y="4123045"/>
                  <a:pt x="4123045" y="5312228"/>
                  <a:pt x="2656114" y="5312228"/>
                </a:cubicBezTo>
                <a:cubicBezTo>
                  <a:pt x="1189183" y="5312228"/>
                  <a:pt x="0" y="4123045"/>
                  <a:pt x="0" y="2656114"/>
                </a:cubicBezTo>
                <a:cubicBezTo>
                  <a:pt x="0" y="1189183"/>
                  <a:pt x="1189183" y="0"/>
                  <a:pt x="2656114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6C2CE57-554A-4C22-929E-0CE42A9423CC}"/>
              </a:ext>
            </a:extLst>
          </p:cNvPr>
          <p:cNvSpPr/>
          <p:nvPr userDrawn="1"/>
        </p:nvSpPr>
        <p:spPr>
          <a:xfrm>
            <a:off x="4957015" y="2290015"/>
            <a:ext cx="2277970" cy="227797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8267230E-5C5B-48C7-9DD7-6DCB999E63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8082" y="2245179"/>
            <a:ext cx="2801690" cy="2367643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8466A0D2-E806-4A36-BE69-D1CB44623A7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43999" y="2245180"/>
            <a:ext cx="2764972" cy="2367642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1A13DD0-284C-4AAE-A26F-35B3AEEE00B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57015" y="3190195"/>
            <a:ext cx="2277970" cy="477610"/>
          </a:xfrm>
        </p:spPr>
        <p:txBody>
          <a:bodyPr>
            <a:normAutofit/>
          </a:bodyPr>
          <a:lstStyle>
            <a:lvl1pPr marL="0" indent="0" algn="ctr">
              <a:buNone/>
              <a:defRPr sz="32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8041784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881F9B3E-A01C-45AC-BC00-A4D34DAAA3D4}"/>
              </a:ext>
            </a:extLst>
          </p:cNvPr>
          <p:cNvGrpSpPr/>
          <p:nvPr userDrawn="1"/>
        </p:nvGrpSpPr>
        <p:grpSpPr>
          <a:xfrm>
            <a:off x="6095077" y="674914"/>
            <a:ext cx="3485272" cy="3211966"/>
            <a:chOff x="1438275" y="2505075"/>
            <a:chExt cx="2206625" cy="2033588"/>
          </a:xfrm>
          <a:solidFill>
            <a:schemeClr val="tx2">
              <a:lumMod val="85000"/>
            </a:schemeClr>
          </a:solidFill>
        </p:grpSpPr>
        <p:sp>
          <p:nvSpPr>
            <p:cNvPr id="11" name="Oval 177">
              <a:extLst>
                <a:ext uri="{FF2B5EF4-FFF2-40B4-BE49-F238E27FC236}">
                  <a16:creationId xmlns:a16="http://schemas.microsoft.com/office/drawing/2014/main" id="{1BA57238-821C-436A-9328-E876C9D57FA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Oval 178">
              <a:extLst>
                <a:ext uri="{FF2B5EF4-FFF2-40B4-BE49-F238E27FC236}">
                  <a16:creationId xmlns:a16="http://schemas.microsoft.com/office/drawing/2014/main" id="{84B21797-1ED9-42A4-8790-598D7AFC31D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Oval 179">
              <a:extLst>
                <a:ext uri="{FF2B5EF4-FFF2-40B4-BE49-F238E27FC236}">
                  <a16:creationId xmlns:a16="http://schemas.microsoft.com/office/drawing/2014/main" id="{941CB372-F67B-4B49-A665-4D9EB8F7B8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Oval 180">
              <a:extLst>
                <a:ext uri="{FF2B5EF4-FFF2-40B4-BE49-F238E27FC236}">
                  <a16:creationId xmlns:a16="http://schemas.microsoft.com/office/drawing/2014/main" id="{4430E85B-D008-4341-AAC5-D96549B23F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Oval 181">
              <a:extLst>
                <a:ext uri="{FF2B5EF4-FFF2-40B4-BE49-F238E27FC236}">
                  <a16:creationId xmlns:a16="http://schemas.microsoft.com/office/drawing/2014/main" id="{590DE3FD-1657-47D9-9B4E-0279F597AB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Oval 182">
              <a:extLst>
                <a:ext uri="{FF2B5EF4-FFF2-40B4-BE49-F238E27FC236}">
                  <a16:creationId xmlns:a16="http://schemas.microsoft.com/office/drawing/2014/main" id="{60024067-9F1B-47E7-8C1C-C065BDFC09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Oval 183">
              <a:extLst>
                <a:ext uri="{FF2B5EF4-FFF2-40B4-BE49-F238E27FC236}">
                  <a16:creationId xmlns:a16="http://schemas.microsoft.com/office/drawing/2014/main" id="{21FE740A-CE95-42CE-8271-26D6DA2C7C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Oval 184">
              <a:extLst>
                <a:ext uri="{FF2B5EF4-FFF2-40B4-BE49-F238E27FC236}">
                  <a16:creationId xmlns:a16="http://schemas.microsoft.com/office/drawing/2014/main" id="{E56F1D46-11A7-4225-9ABE-952605DF20D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185">
              <a:extLst>
                <a:ext uri="{FF2B5EF4-FFF2-40B4-BE49-F238E27FC236}">
                  <a16:creationId xmlns:a16="http://schemas.microsoft.com/office/drawing/2014/main" id="{606C00F6-3424-48C1-BEBE-F1748D482A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Oval 186">
              <a:extLst>
                <a:ext uri="{FF2B5EF4-FFF2-40B4-BE49-F238E27FC236}">
                  <a16:creationId xmlns:a16="http://schemas.microsoft.com/office/drawing/2014/main" id="{49BFC918-CCE0-4B5E-A485-A4F0DA7F6B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187">
              <a:extLst>
                <a:ext uri="{FF2B5EF4-FFF2-40B4-BE49-F238E27FC236}">
                  <a16:creationId xmlns:a16="http://schemas.microsoft.com/office/drawing/2014/main" id="{C6E18097-A924-4F14-BCEB-79A8AA7DFA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42592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188">
              <a:extLst>
                <a:ext uri="{FF2B5EF4-FFF2-40B4-BE49-F238E27FC236}">
                  <a16:creationId xmlns:a16="http://schemas.microsoft.com/office/drawing/2014/main" id="{46984A79-6AD3-4914-BDB3-22E56C76F5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408463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189">
              <a:extLst>
                <a:ext uri="{FF2B5EF4-FFF2-40B4-BE49-F238E27FC236}">
                  <a16:creationId xmlns:a16="http://schemas.microsoft.com/office/drawing/2014/main" id="{43C70710-A678-499E-9E62-BDB12CDD74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190">
              <a:extLst>
                <a:ext uri="{FF2B5EF4-FFF2-40B4-BE49-F238E27FC236}">
                  <a16:creationId xmlns:a16="http://schemas.microsoft.com/office/drawing/2014/main" id="{703B11B8-BACC-481E-9E96-88D65E5F1C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191">
              <a:extLst>
                <a:ext uri="{FF2B5EF4-FFF2-40B4-BE49-F238E27FC236}">
                  <a16:creationId xmlns:a16="http://schemas.microsoft.com/office/drawing/2014/main" id="{30DBBA72-256C-4073-B045-F452BE03B2B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Oval 192">
              <a:extLst>
                <a:ext uri="{FF2B5EF4-FFF2-40B4-BE49-F238E27FC236}">
                  <a16:creationId xmlns:a16="http://schemas.microsoft.com/office/drawing/2014/main" id="{AAE8EA87-3540-43A2-B133-E409CDB2EED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193">
              <a:extLst>
                <a:ext uri="{FF2B5EF4-FFF2-40B4-BE49-F238E27FC236}">
                  <a16:creationId xmlns:a16="http://schemas.microsoft.com/office/drawing/2014/main" id="{4B209052-2657-4EB6-AA02-AEF0F980AD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194">
              <a:extLst>
                <a:ext uri="{FF2B5EF4-FFF2-40B4-BE49-F238E27FC236}">
                  <a16:creationId xmlns:a16="http://schemas.microsoft.com/office/drawing/2014/main" id="{ADB0AEDF-8180-4592-AA42-80DC352A79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195">
              <a:extLst>
                <a:ext uri="{FF2B5EF4-FFF2-40B4-BE49-F238E27FC236}">
                  <a16:creationId xmlns:a16="http://schemas.microsoft.com/office/drawing/2014/main" id="{E5E873E5-EBF3-42F1-B34A-9C98F4F35FB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408463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196">
              <a:extLst>
                <a:ext uri="{FF2B5EF4-FFF2-40B4-BE49-F238E27FC236}">
                  <a16:creationId xmlns:a16="http://schemas.microsoft.com/office/drawing/2014/main" id="{34B154FB-D3AA-4BDD-B0C3-4D5BE79DF6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197">
              <a:extLst>
                <a:ext uri="{FF2B5EF4-FFF2-40B4-BE49-F238E27FC236}">
                  <a16:creationId xmlns:a16="http://schemas.microsoft.com/office/drawing/2014/main" id="{4BFEC3F2-5CEA-4639-B31B-5D3E85A458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198">
              <a:extLst>
                <a:ext uri="{FF2B5EF4-FFF2-40B4-BE49-F238E27FC236}">
                  <a16:creationId xmlns:a16="http://schemas.microsoft.com/office/drawing/2014/main" id="{3F6A0A09-ABA7-4B10-914F-C47C4804895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9084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199">
              <a:extLst>
                <a:ext uri="{FF2B5EF4-FFF2-40B4-BE49-F238E27FC236}">
                  <a16:creationId xmlns:a16="http://schemas.microsoft.com/office/drawing/2014/main" id="{34DC7B55-A32B-4413-BF66-FEF5835126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200">
              <a:extLst>
                <a:ext uri="{FF2B5EF4-FFF2-40B4-BE49-F238E27FC236}">
                  <a16:creationId xmlns:a16="http://schemas.microsoft.com/office/drawing/2014/main" id="{C0CE548C-A95F-4C6E-8618-C790238160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201">
              <a:extLst>
                <a:ext uri="{FF2B5EF4-FFF2-40B4-BE49-F238E27FC236}">
                  <a16:creationId xmlns:a16="http://schemas.microsoft.com/office/drawing/2014/main" id="{9FB9A61C-A366-4D9F-A524-2CE1849E949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202">
              <a:extLst>
                <a:ext uri="{FF2B5EF4-FFF2-40B4-BE49-F238E27FC236}">
                  <a16:creationId xmlns:a16="http://schemas.microsoft.com/office/drawing/2014/main" id="{33C38861-D0E9-4625-9E5C-991699F35A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203">
              <a:extLst>
                <a:ext uri="{FF2B5EF4-FFF2-40B4-BE49-F238E27FC236}">
                  <a16:creationId xmlns:a16="http://schemas.microsoft.com/office/drawing/2014/main" id="{992EB304-6EA5-4D2B-8A69-3A3A8A28FC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204">
              <a:extLst>
                <a:ext uri="{FF2B5EF4-FFF2-40B4-BE49-F238E27FC236}">
                  <a16:creationId xmlns:a16="http://schemas.microsoft.com/office/drawing/2014/main" id="{9013290E-699B-47F1-9734-EB36B811647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205">
              <a:extLst>
                <a:ext uri="{FF2B5EF4-FFF2-40B4-BE49-F238E27FC236}">
                  <a16:creationId xmlns:a16="http://schemas.microsoft.com/office/drawing/2014/main" id="{823D4484-CE1E-48B9-97D0-F7C01BD4BF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9084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206">
              <a:extLst>
                <a:ext uri="{FF2B5EF4-FFF2-40B4-BE49-F238E27FC236}">
                  <a16:creationId xmlns:a16="http://schemas.microsoft.com/office/drawing/2014/main" id="{F6FC8C52-1411-4E1F-A412-B9C3595FBE4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207">
              <a:extLst>
                <a:ext uri="{FF2B5EF4-FFF2-40B4-BE49-F238E27FC236}">
                  <a16:creationId xmlns:a16="http://schemas.microsoft.com/office/drawing/2014/main" id="{9071C7E1-A330-4534-A918-A9AA7661E8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208">
              <a:extLst>
                <a:ext uri="{FF2B5EF4-FFF2-40B4-BE49-F238E27FC236}">
                  <a16:creationId xmlns:a16="http://schemas.microsoft.com/office/drawing/2014/main" id="{08FD0C98-AC1B-408F-884C-8A4474AD06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Oval 209">
              <a:extLst>
                <a:ext uri="{FF2B5EF4-FFF2-40B4-BE49-F238E27FC236}">
                  <a16:creationId xmlns:a16="http://schemas.microsoft.com/office/drawing/2014/main" id="{019FD89D-0747-4F8A-B311-01EA19CC51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73380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Oval 210">
              <a:extLst>
                <a:ext uri="{FF2B5EF4-FFF2-40B4-BE49-F238E27FC236}">
                  <a16:creationId xmlns:a16="http://schemas.microsoft.com/office/drawing/2014/main" id="{235DAD3E-F736-4B27-8929-6DF33ECECD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Oval 211">
              <a:extLst>
                <a:ext uri="{FF2B5EF4-FFF2-40B4-BE49-F238E27FC236}">
                  <a16:creationId xmlns:a16="http://schemas.microsoft.com/office/drawing/2014/main" id="{2AE419D6-0E7A-4EA8-855A-74BB09CB8DA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Oval 212">
              <a:extLst>
                <a:ext uri="{FF2B5EF4-FFF2-40B4-BE49-F238E27FC236}">
                  <a16:creationId xmlns:a16="http://schemas.microsoft.com/office/drawing/2014/main" id="{C066D252-BFF3-42A8-B609-B6C0E5189C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Oval 213">
              <a:extLst>
                <a:ext uri="{FF2B5EF4-FFF2-40B4-BE49-F238E27FC236}">
                  <a16:creationId xmlns:a16="http://schemas.microsoft.com/office/drawing/2014/main" id="{EE74D641-EC72-4023-BF8B-F9F01C4B53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Oval 214">
              <a:extLst>
                <a:ext uri="{FF2B5EF4-FFF2-40B4-BE49-F238E27FC236}">
                  <a16:creationId xmlns:a16="http://schemas.microsoft.com/office/drawing/2014/main" id="{0D8A2961-F702-4070-8C72-508FB04893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Oval 215">
              <a:extLst>
                <a:ext uri="{FF2B5EF4-FFF2-40B4-BE49-F238E27FC236}">
                  <a16:creationId xmlns:a16="http://schemas.microsoft.com/office/drawing/2014/main" id="{57FDF1DD-3244-4837-94E7-5C0AE2EA285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Oval 216">
              <a:extLst>
                <a:ext uri="{FF2B5EF4-FFF2-40B4-BE49-F238E27FC236}">
                  <a16:creationId xmlns:a16="http://schemas.microsoft.com/office/drawing/2014/main" id="{8191EFD2-1ECA-4FC0-99AE-32BA44C3679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73380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Oval 217">
              <a:extLst>
                <a:ext uri="{FF2B5EF4-FFF2-40B4-BE49-F238E27FC236}">
                  <a16:creationId xmlns:a16="http://schemas.microsoft.com/office/drawing/2014/main" id="{1D61B5B5-64FC-4508-9CC9-07AB369C25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Oval 218">
              <a:extLst>
                <a:ext uri="{FF2B5EF4-FFF2-40B4-BE49-F238E27FC236}">
                  <a16:creationId xmlns:a16="http://schemas.microsoft.com/office/drawing/2014/main" id="{212DCE3E-0333-4C1E-AB2C-2523696F74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Oval 219">
              <a:extLst>
                <a:ext uri="{FF2B5EF4-FFF2-40B4-BE49-F238E27FC236}">
                  <a16:creationId xmlns:a16="http://schemas.microsoft.com/office/drawing/2014/main" id="{008E6108-35CD-4A6C-A31F-481D89792F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Oval 220">
              <a:extLst>
                <a:ext uri="{FF2B5EF4-FFF2-40B4-BE49-F238E27FC236}">
                  <a16:creationId xmlns:a16="http://schemas.microsoft.com/office/drawing/2014/main" id="{2EBBBEB7-9A2D-43F8-A0C4-DA86C6E7DE3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5575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Oval 221">
              <a:extLst>
                <a:ext uri="{FF2B5EF4-FFF2-40B4-BE49-F238E27FC236}">
                  <a16:creationId xmlns:a16="http://schemas.microsoft.com/office/drawing/2014/main" id="{806833A6-56DD-4138-ADB0-FA455F1AD5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Oval 222">
              <a:extLst>
                <a:ext uri="{FF2B5EF4-FFF2-40B4-BE49-F238E27FC236}">
                  <a16:creationId xmlns:a16="http://schemas.microsoft.com/office/drawing/2014/main" id="{8EC823CC-2B89-49AD-85DC-63699C78C8B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Oval 223">
              <a:extLst>
                <a:ext uri="{FF2B5EF4-FFF2-40B4-BE49-F238E27FC236}">
                  <a16:creationId xmlns:a16="http://schemas.microsoft.com/office/drawing/2014/main" id="{1DF7540F-3626-499D-8466-62DBCF22BA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Oval 224">
              <a:extLst>
                <a:ext uri="{FF2B5EF4-FFF2-40B4-BE49-F238E27FC236}">
                  <a16:creationId xmlns:a16="http://schemas.microsoft.com/office/drawing/2014/main" id="{6762841F-3160-4EE2-A146-C24A7A50E82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Oval 225">
              <a:extLst>
                <a:ext uri="{FF2B5EF4-FFF2-40B4-BE49-F238E27FC236}">
                  <a16:creationId xmlns:a16="http://schemas.microsoft.com/office/drawing/2014/main" id="{5871494A-8433-44FF-9023-4F547E0993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Oval 226">
              <a:extLst>
                <a:ext uri="{FF2B5EF4-FFF2-40B4-BE49-F238E27FC236}">
                  <a16:creationId xmlns:a16="http://schemas.microsoft.com/office/drawing/2014/main" id="{5B2F51BA-B521-49A3-91AE-73CE72EE827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Oval 227">
              <a:extLst>
                <a:ext uri="{FF2B5EF4-FFF2-40B4-BE49-F238E27FC236}">
                  <a16:creationId xmlns:a16="http://schemas.microsoft.com/office/drawing/2014/main" id="{7AA3394E-DA28-4D39-84C0-EC3A6EFB083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5575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Oval 228">
              <a:extLst>
                <a:ext uri="{FF2B5EF4-FFF2-40B4-BE49-F238E27FC236}">
                  <a16:creationId xmlns:a16="http://schemas.microsoft.com/office/drawing/2014/main" id="{53B46A25-1C55-403C-B92C-B890F5309A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Oval 229">
              <a:extLst>
                <a:ext uri="{FF2B5EF4-FFF2-40B4-BE49-F238E27FC236}">
                  <a16:creationId xmlns:a16="http://schemas.microsoft.com/office/drawing/2014/main" id="{226B2935-8F52-4E7E-8FDB-2F84677CB6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230">
              <a:extLst>
                <a:ext uri="{FF2B5EF4-FFF2-40B4-BE49-F238E27FC236}">
                  <a16:creationId xmlns:a16="http://schemas.microsoft.com/office/drawing/2014/main" id="{ED54A63C-B0F1-4047-A422-A5582E1613E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4382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Oval 231">
              <a:extLst>
                <a:ext uri="{FF2B5EF4-FFF2-40B4-BE49-F238E27FC236}">
                  <a16:creationId xmlns:a16="http://schemas.microsoft.com/office/drawing/2014/main" id="{E2DEB222-D656-4EF8-B13D-7AE60FD573E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Oval 232">
              <a:extLst>
                <a:ext uri="{FF2B5EF4-FFF2-40B4-BE49-F238E27FC236}">
                  <a16:creationId xmlns:a16="http://schemas.microsoft.com/office/drawing/2014/main" id="{C2986443-DCBE-41D4-89C4-9387521DC24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3829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Oval 233">
              <a:extLst>
                <a:ext uri="{FF2B5EF4-FFF2-40B4-BE49-F238E27FC236}">
                  <a16:creationId xmlns:a16="http://schemas.microsoft.com/office/drawing/2014/main" id="{A94C8A7B-C819-4669-9FBE-71BCD420A6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Oval 234">
              <a:extLst>
                <a:ext uri="{FF2B5EF4-FFF2-40B4-BE49-F238E27FC236}">
                  <a16:creationId xmlns:a16="http://schemas.microsoft.com/office/drawing/2014/main" id="{45E5D123-10B4-4B58-AE49-4B30C96CA22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235">
              <a:extLst>
                <a:ext uri="{FF2B5EF4-FFF2-40B4-BE49-F238E27FC236}">
                  <a16:creationId xmlns:a16="http://schemas.microsoft.com/office/drawing/2014/main" id="{9FD0BA9E-DC7C-4E65-AC3B-16385B2DD1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236">
              <a:extLst>
                <a:ext uri="{FF2B5EF4-FFF2-40B4-BE49-F238E27FC236}">
                  <a16:creationId xmlns:a16="http://schemas.microsoft.com/office/drawing/2014/main" id="{7667F6CF-61A2-4EDC-9B2A-3D95070C26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237">
              <a:extLst>
                <a:ext uri="{FF2B5EF4-FFF2-40B4-BE49-F238E27FC236}">
                  <a16:creationId xmlns:a16="http://schemas.microsoft.com/office/drawing/2014/main" id="{AA2D1F19-BA18-4072-A3BB-90DA8BF310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238">
              <a:extLst>
                <a:ext uri="{FF2B5EF4-FFF2-40B4-BE49-F238E27FC236}">
                  <a16:creationId xmlns:a16="http://schemas.microsoft.com/office/drawing/2014/main" id="{9715FE0D-0118-4915-8E19-40081D32C8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Oval 239">
              <a:extLst>
                <a:ext uri="{FF2B5EF4-FFF2-40B4-BE49-F238E27FC236}">
                  <a16:creationId xmlns:a16="http://schemas.microsoft.com/office/drawing/2014/main" id="{089D2AEA-1F11-4683-8D11-1FC738FF68F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3829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Oval 240">
              <a:extLst>
                <a:ext uri="{FF2B5EF4-FFF2-40B4-BE49-F238E27FC236}">
                  <a16:creationId xmlns:a16="http://schemas.microsoft.com/office/drawing/2014/main" id="{BF8CD290-1FC2-4EF0-ACAB-2CBD2EFEA1D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Oval 241">
              <a:extLst>
                <a:ext uri="{FF2B5EF4-FFF2-40B4-BE49-F238E27FC236}">
                  <a16:creationId xmlns:a16="http://schemas.microsoft.com/office/drawing/2014/main" id="{DD63F141-556F-4AFC-AA5B-9491D8968A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Oval 242">
              <a:extLst>
                <a:ext uri="{FF2B5EF4-FFF2-40B4-BE49-F238E27FC236}">
                  <a16:creationId xmlns:a16="http://schemas.microsoft.com/office/drawing/2014/main" id="{CF0EC192-35E3-48E2-97AA-85FB522930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54171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Oval 243">
              <a:extLst>
                <a:ext uri="{FF2B5EF4-FFF2-40B4-BE49-F238E27FC236}">
                  <a16:creationId xmlns:a16="http://schemas.microsoft.com/office/drawing/2014/main" id="{7B0918CF-9FAB-4906-9A29-B7E0F8DEC6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Oval 244">
              <a:extLst>
                <a:ext uri="{FF2B5EF4-FFF2-40B4-BE49-F238E27FC236}">
                  <a16:creationId xmlns:a16="http://schemas.microsoft.com/office/drawing/2014/main" id="{C4157DA9-DCFE-4516-A12D-186386255D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20675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Oval 245">
              <a:extLst>
                <a:ext uri="{FF2B5EF4-FFF2-40B4-BE49-F238E27FC236}">
                  <a16:creationId xmlns:a16="http://schemas.microsoft.com/office/drawing/2014/main" id="{5415EB5C-1F39-48DC-95E3-F662EE97D6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Oval 246">
              <a:extLst>
                <a:ext uri="{FF2B5EF4-FFF2-40B4-BE49-F238E27FC236}">
                  <a16:creationId xmlns:a16="http://schemas.microsoft.com/office/drawing/2014/main" id="{1FF7D437-406B-427B-AE3C-A6BA7475A41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Oval 247">
              <a:extLst>
                <a:ext uri="{FF2B5EF4-FFF2-40B4-BE49-F238E27FC236}">
                  <a16:creationId xmlns:a16="http://schemas.microsoft.com/office/drawing/2014/main" id="{124E648F-35CA-4FD3-9D0B-DC818539251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Oval 248">
              <a:extLst>
                <a:ext uri="{FF2B5EF4-FFF2-40B4-BE49-F238E27FC236}">
                  <a16:creationId xmlns:a16="http://schemas.microsoft.com/office/drawing/2014/main" id="{F79D6970-DC27-4933-97EC-0B8D9CDBB37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Oval 249">
              <a:extLst>
                <a:ext uri="{FF2B5EF4-FFF2-40B4-BE49-F238E27FC236}">
                  <a16:creationId xmlns:a16="http://schemas.microsoft.com/office/drawing/2014/main" id="{98A7CB87-E43D-422D-A2C8-1B5EEAD868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Oval 250">
              <a:extLst>
                <a:ext uri="{FF2B5EF4-FFF2-40B4-BE49-F238E27FC236}">
                  <a16:creationId xmlns:a16="http://schemas.microsoft.com/office/drawing/2014/main" id="{F3085712-4B59-49B5-BCDF-C2D46776E7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Oval 251">
              <a:extLst>
                <a:ext uri="{FF2B5EF4-FFF2-40B4-BE49-F238E27FC236}">
                  <a16:creationId xmlns:a16="http://schemas.microsoft.com/office/drawing/2014/main" id="{9E54CCDB-5D4F-4C34-8334-4D84B2FF8C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20675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Oval 252">
              <a:extLst>
                <a:ext uri="{FF2B5EF4-FFF2-40B4-BE49-F238E27FC236}">
                  <a16:creationId xmlns:a16="http://schemas.microsoft.com/office/drawing/2014/main" id="{F51D2A15-7F88-4D12-8342-7921DB023A2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Oval 253">
              <a:extLst>
                <a:ext uri="{FF2B5EF4-FFF2-40B4-BE49-F238E27FC236}">
                  <a16:creationId xmlns:a16="http://schemas.microsoft.com/office/drawing/2014/main" id="{26F681A4-4215-4561-8FE4-E0A92235AF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Oval 254">
              <a:extLst>
                <a:ext uri="{FF2B5EF4-FFF2-40B4-BE49-F238E27FC236}">
                  <a16:creationId xmlns:a16="http://schemas.microsoft.com/office/drawing/2014/main" id="{6492CB31-D220-41EE-9638-3403569CED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Oval 255">
              <a:extLst>
                <a:ext uri="{FF2B5EF4-FFF2-40B4-BE49-F238E27FC236}">
                  <a16:creationId xmlns:a16="http://schemas.microsoft.com/office/drawing/2014/main" id="{729D1FD7-BA9A-4E44-8BE0-CE198C0467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0321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Oval 256">
              <a:extLst>
                <a:ext uri="{FF2B5EF4-FFF2-40B4-BE49-F238E27FC236}">
                  <a16:creationId xmlns:a16="http://schemas.microsoft.com/office/drawing/2014/main" id="{1A5F59A9-46E2-4ABD-8914-D95D4D3523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Oval 257">
              <a:extLst>
                <a:ext uri="{FF2B5EF4-FFF2-40B4-BE49-F238E27FC236}">
                  <a16:creationId xmlns:a16="http://schemas.microsoft.com/office/drawing/2014/main" id="{D446177B-AC38-4EED-B866-E51D9625B4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Oval 258">
              <a:extLst>
                <a:ext uri="{FF2B5EF4-FFF2-40B4-BE49-F238E27FC236}">
                  <a16:creationId xmlns:a16="http://schemas.microsoft.com/office/drawing/2014/main" id="{5A5372C4-228C-4F84-8237-E3D0496261E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Oval 259">
              <a:extLst>
                <a:ext uri="{FF2B5EF4-FFF2-40B4-BE49-F238E27FC236}">
                  <a16:creationId xmlns:a16="http://schemas.microsoft.com/office/drawing/2014/main" id="{DA0AE973-EB72-4FA7-BBFA-7EEECF2A14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Oval 260">
              <a:extLst>
                <a:ext uri="{FF2B5EF4-FFF2-40B4-BE49-F238E27FC236}">
                  <a16:creationId xmlns:a16="http://schemas.microsoft.com/office/drawing/2014/main" id="{C9042C91-C530-4231-B7E0-7F885196DA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Oval 261">
              <a:extLst>
                <a:ext uri="{FF2B5EF4-FFF2-40B4-BE49-F238E27FC236}">
                  <a16:creationId xmlns:a16="http://schemas.microsoft.com/office/drawing/2014/main" id="{ABB494AB-B9BF-4733-98DF-9AA5F75E0D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262">
              <a:extLst>
                <a:ext uri="{FF2B5EF4-FFF2-40B4-BE49-F238E27FC236}">
                  <a16:creationId xmlns:a16="http://schemas.microsoft.com/office/drawing/2014/main" id="{FC5D9F1B-242E-4E2F-BA39-50247924FBB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0321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Oval 263">
              <a:extLst>
                <a:ext uri="{FF2B5EF4-FFF2-40B4-BE49-F238E27FC236}">
                  <a16:creationId xmlns:a16="http://schemas.microsoft.com/office/drawing/2014/main" id="{36E0E7C1-8707-4233-A01A-5873353114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Oval 264">
              <a:extLst>
                <a:ext uri="{FF2B5EF4-FFF2-40B4-BE49-F238E27FC236}">
                  <a16:creationId xmlns:a16="http://schemas.microsoft.com/office/drawing/2014/main" id="{91CE0474-DE6A-42E0-B40A-6C6E3A13A6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265">
              <a:extLst>
                <a:ext uri="{FF2B5EF4-FFF2-40B4-BE49-F238E27FC236}">
                  <a16:creationId xmlns:a16="http://schemas.microsoft.com/office/drawing/2014/main" id="{4A555E31-256C-49CD-BCFB-005110BC15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285591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266">
              <a:extLst>
                <a:ext uri="{FF2B5EF4-FFF2-40B4-BE49-F238E27FC236}">
                  <a16:creationId xmlns:a16="http://schemas.microsoft.com/office/drawing/2014/main" id="{1CF2B343-A060-4B80-9685-7CC1EFA930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267">
              <a:extLst>
                <a:ext uri="{FF2B5EF4-FFF2-40B4-BE49-F238E27FC236}">
                  <a16:creationId xmlns:a16="http://schemas.microsoft.com/office/drawing/2014/main" id="{62C2147E-CFD7-4B85-B0EF-13D717E0E9C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268">
              <a:extLst>
                <a:ext uri="{FF2B5EF4-FFF2-40B4-BE49-F238E27FC236}">
                  <a16:creationId xmlns:a16="http://schemas.microsoft.com/office/drawing/2014/main" id="{D87541EF-3A30-4F53-96A0-90A27A5CBFB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269">
              <a:extLst>
                <a:ext uri="{FF2B5EF4-FFF2-40B4-BE49-F238E27FC236}">
                  <a16:creationId xmlns:a16="http://schemas.microsoft.com/office/drawing/2014/main" id="{21CF6D29-3CEC-4711-AB70-F2F0DBABD04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270">
              <a:extLst>
                <a:ext uri="{FF2B5EF4-FFF2-40B4-BE49-F238E27FC236}">
                  <a16:creationId xmlns:a16="http://schemas.microsoft.com/office/drawing/2014/main" id="{3127D5D5-5AE4-44F1-9884-434B8EF2D88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271">
              <a:extLst>
                <a:ext uri="{FF2B5EF4-FFF2-40B4-BE49-F238E27FC236}">
                  <a16:creationId xmlns:a16="http://schemas.microsoft.com/office/drawing/2014/main" id="{9B6938F4-57F4-48BF-A4BF-434BDEBEAE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272">
              <a:extLst>
                <a:ext uri="{FF2B5EF4-FFF2-40B4-BE49-F238E27FC236}">
                  <a16:creationId xmlns:a16="http://schemas.microsoft.com/office/drawing/2014/main" id="{05B047D0-26AB-4266-AB81-D6DA49ADEE7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285591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273">
              <a:extLst>
                <a:ext uri="{FF2B5EF4-FFF2-40B4-BE49-F238E27FC236}">
                  <a16:creationId xmlns:a16="http://schemas.microsoft.com/office/drawing/2014/main" id="{47330EA4-0924-43E0-BBCC-F731014BCE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274">
              <a:extLst>
                <a:ext uri="{FF2B5EF4-FFF2-40B4-BE49-F238E27FC236}">
                  <a16:creationId xmlns:a16="http://schemas.microsoft.com/office/drawing/2014/main" id="{6E3F33EF-15BA-4831-A280-31E4625C33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275">
              <a:extLst>
                <a:ext uri="{FF2B5EF4-FFF2-40B4-BE49-F238E27FC236}">
                  <a16:creationId xmlns:a16="http://schemas.microsoft.com/office/drawing/2014/main" id="{DD7AC460-7CF6-445F-8AF3-2025450182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276">
              <a:extLst>
                <a:ext uri="{FF2B5EF4-FFF2-40B4-BE49-F238E27FC236}">
                  <a16:creationId xmlns:a16="http://schemas.microsoft.com/office/drawing/2014/main" id="{BFBE0FB0-1E75-4B45-B28E-495733E42F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277">
              <a:extLst>
                <a:ext uri="{FF2B5EF4-FFF2-40B4-BE49-F238E27FC236}">
                  <a16:creationId xmlns:a16="http://schemas.microsoft.com/office/drawing/2014/main" id="{7E9C1E32-A181-4A10-A7C7-15DEB1EFDB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Oval 278">
              <a:extLst>
                <a:ext uri="{FF2B5EF4-FFF2-40B4-BE49-F238E27FC236}">
                  <a16:creationId xmlns:a16="http://schemas.microsoft.com/office/drawing/2014/main" id="{01945275-FBB6-498B-8788-E188F392102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Oval 279">
              <a:extLst>
                <a:ext uri="{FF2B5EF4-FFF2-40B4-BE49-F238E27FC236}">
                  <a16:creationId xmlns:a16="http://schemas.microsoft.com/office/drawing/2014/main" id="{9160D56D-1473-424C-93EC-6A94AB1076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Oval 280">
              <a:extLst>
                <a:ext uri="{FF2B5EF4-FFF2-40B4-BE49-F238E27FC236}">
                  <a16:creationId xmlns:a16="http://schemas.microsoft.com/office/drawing/2014/main" id="{D505BF21-67A4-406D-8238-5859FAC77B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26812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Oval 281">
              <a:extLst>
                <a:ext uri="{FF2B5EF4-FFF2-40B4-BE49-F238E27FC236}">
                  <a16:creationId xmlns:a16="http://schemas.microsoft.com/office/drawing/2014/main" id="{71A66498-D9BA-4CA4-BA1C-5D541C1A0D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Oval 282">
              <a:extLst>
                <a:ext uri="{FF2B5EF4-FFF2-40B4-BE49-F238E27FC236}">
                  <a16:creationId xmlns:a16="http://schemas.microsoft.com/office/drawing/2014/main" id="{3F4DE41A-2498-478A-BCF9-7A87093F6BB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Oval 283">
              <a:extLst>
                <a:ext uri="{FF2B5EF4-FFF2-40B4-BE49-F238E27FC236}">
                  <a16:creationId xmlns:a16="http://schemas.microsoft.com/office/drawing/2014/main" id="{0F355796-C062-4308-9C63-B0E32F7591F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" name="Oval 6">
            <a:extLst>
              <a:ext uri="{FF2B5EF4-FFF2-40B4-BE49-F238E27FC236}">
                <a16:creationId xmlns:a16="http://schemas.microsoft.com/office/drawing/2014/main" id="{CF7D0E43-B1BD-476B-BEF8-919B3B8452D7}"/>
              </a:ext>
            </a:extLst>
          </p:cNvPr>
          <p:cNvSpPr/>
          <p:nvPr userDrawn="1"/>
        </p:nvSpPr>
        <p:spPr>
          <a:xfrm>
            <a:off x="6213021" y="2505223"/>
            <a:ext cx="4746172" cy="47461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889029C8-7073-4C34-B1BC-73269217FA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37714" y="-1847554"/>
            <a:ext cx="4354286" cy="8705554"/>
          </a:xfrm>
          <a:custGeom>
            <a:avLst/>
            <a:gdLst>
              <a:gd name="connsiteX0" fmla="*/ 1725407 w 1725407"/>
              <a:gd name="connsiteY0" fmla="*/ 0 h 3449618"/>
              <a:gd name="connsiteX1" fmla="*/ 1725407 w 1725407"/>
              <a:gd name="connsiteY1" fmla="*/ 3449618 h 3449618"/>
              <a:gd name="connsiteX2" fmla="*/ 1549179 w 1725407"/>
              <a:gd name="connsiteY2" fmla="*/ 3440723 h 3449618"/>
              <a:gd name="connsiteX3" fmla="*/ 0 w 1725407"/>
              <a:gd name="connsiteY3" fmla="*/ 1724809 h 3449618"/>
              <a:gd name="connsiteX4" fmla="*/ 1549179 w 1725407"/>
              <a:gd name="connsiteY4" fmla="*/ 8895 h 3449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25407" h="3449618">
                <a:moveTo>
                  <a:pt x="1725407" y="0"/>
                </a:moveTo>
                <a:lnTo>
                  <a:pt x="1725407" y="3449618"/>
                </a:lnTo>
                <a:lnTo>
                  <a:pt x="1549179" y="3440723"/>
                </a:lnTo>
                <a:cubicBezTo>
                  <a:pt x="679028" y="3352395"/>
                  <a:pt x="0" y="2617863"/>
                  <a:pt x="0" y="1724809"/>
                </a:cubicBezTo>
                <a:cubicBezTo>
                  <a:pt x="0" y="831755"/>
                  <a:pt x="679028" y="97223"/>
                  <a:pt x="1549179" y="8895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1689" y="6399899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44C97E4A-94E7-4FD5-B663-F7591B8881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196" y="831544"/>
            <a:ext cx="3563690" cy="184785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C4E2AE39-C0A6-4E85-9880-2721A0A495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329541" y="2679394"/>
            <a:ext cx="3497037" cy="185057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26772076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D97DC956-648B-4944-8042-154A549DBBC1}"/>
              </a:ext>
            </a:extLst>
          </p:cNvPr>
          <p:cNvSpPr/>
          <p:nvPr userDrawn="1"/>
        </p:nvSpPr>
        <p:spPr>
          <a:xfrm>
            <a:off x="3056159" y="2247900"/>
            <a:ext cx="3238500" cy="32385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10B4448-4AE6-4E3D-A5D8-109D3BF0A4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-24714"/>
            <a:ext cx="6112317" cy="6882714"/>
          </a:xfrm>
          <a:custGeom>
            <a:avLst/>
            <a:gdLst>
              <a:gd name="connsiteX0" fmla="*/ 0 w 2479430"/>
              <a:gd name="connsiteY0" fmla="*/ 0 h 6858000"/>
              <a:gd name="connsiteX1" fmla="*/ 2479430 w 2479430"/>
              <a:gd name="connsiteY1" fmla="*/ 0 h 6858000"/>
              <a:gd name="connsiteX2" fmla="*/ 2479430 w 2479430"/>
              <a:gd name="connsiteY2" fmla="*/ 6858000 h 6858000"/>
              <a:gd name="connsiteX3" fmla="*/ 0 w 2479430"/>
              <a:gd name="connsiteY3" fmla="*/ 6858000 h 6858000"/>
              <a:gd name="connsiteX4" fmla="*/ 0 w 2479430"/>
              <a:gd name="connsiteY4" fmla="*/ 0 h 6858000"/>
              <a:gd name="connsiteX0" fmla="*/ 0 w 6112317"/>
              <a:gd name="connsiteY0" fmla="*/ 24714 h 6882714"/>
              <a:gd name="connsiteX1" fmla="*/ 6112317 w 6112317"/>
              <a:gd name="connsiteY1" fmla="*/ 0 h 6882714"/>
              <a:gd name="connsiteX2" fmla="*/ 2479430 w 6112317"/>
              <a:gd name="connsiteY2" fmla="*/ 6882714 h 6882714"/>
              <a:gd name="connsiteX3" fmla="*/ 0 w 6112317"/>
              <a:gd name="connsiteY3" fmla="*/ 6882714 h 6882714"/>
              <a:gd name="connsiteX4" fmla="*/ 0 w 6112317"/>
              <a:gd name="connsiteY4" fmla="*/ 24714 h 6882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12317" h="6882714">
                <a:moveTo>
                  <a:pt x="0" y="24714"/>
                </a:moveTo>
                <a:lnTo>
                  <a:pt x="6112317" y="0"/>
                </a:lnTo>
                <a:lnTo>
                  <a:pt x="2479430" y="6882714"/>
                </a:lnTo>
                <a:lnTo>
                  <a:pt x="0" y="6882714"/>
                </a:lnTo>
                <a:lnTo>
                  <a:pt x="0" y="24714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E1D0ED2C-ADAC-4DC4-B2F8-9949F84ED5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45460" y="955250"/>
            <a:ext cx="3489190" cy="105156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80638CD1-FAD3-4015-94D9-2EA4F6D9B22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45460" y="3485770"/>
            <a:ext cx="3543300" cy="231953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FD5648B-DD23-4947-BCC2-C3B4C6D8EF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45460" y="2580817"/>
            <a:ext cx="3489190" cy="904953"/>
          </a:xfrm>
        </p:spPr>
        <p:txBody>
          <a:bodyPr>
            <a:normAutofit/>
          </a:bodyPr>
          <a:lstStyle>
            <a:lvl1pPr marL="0" indent="0">
              <a:buNone/>
              <a:defRPr sz="1800" u="sng">
                <a:solidFill>
                  <a:schemeClr val="tx2">
                    <a:lumMod val="5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38540427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5E2A13CE-4AE2-44ED-9EDA-05F0B37D46B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37202" y="-56122"/>
            <a:ext cx="3487124" cy="6914122"/>
          </a:xfrm>
          <a:custGeom>
            <a:avLst/>
            <a:gdLst>
              <a:gd name="connsiteX0" fmla="*/ 14365 w 1666159"/>
              <a:gd name="connsiteY0" fmla="*/ 0 h 3303588"/>
              <a:gd name="connsiteX1" fmla="*/ 1666159 w 1666159"/>
              <a:gd name="connsiteY1" fmla="*/ 1651794 h 3303588"/>
              <a:gd name="connsiteX2" fmla="*/ 14365 w 1666159"/>
              <a:gd name="connsiteY2" fmla="*/ 3303588 h 3303588"/>
              <a:gd name="connsiteX3" fmla="*/ 0 w 1666159"/>
              <a:gd name="connsiteY3" fmla="*/ 3302863 h 3303588"/>
              <a:gd name="connsiteX4" fmla="*/ 0 w 1666159"/>
              <a:gd name="connsiteY4" fmla="*/ 726 h 3303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66159" h="3303588">
                <a:moveTo>
                  <a:pt x="14365" y="0"/>
                </a:moveTo>
                <a:cubicBezTo>
                  <a:pt x="926626" y="0"/>
                  <a:pt x="1666159" y="739533"/>
                  <a:pt x="1666159" y="1651794"/>
                </a:cubicBezTo>
                <a:cubicBezTo>
                  <a:pt x="1666159" y="2564055"/>
                  <a:pt x="926626" y="3303588"/>
                  <a:pt x="14365" y="3303588"/>
                </a:cubicBezTo>
                <a:lnTo>
                  <a:pt x="0" y="3302863"/>
                </a:lnTo>
                <a:lnTo>
                  <a:pt x="0" y="726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6A9E744-8BB3-40B9-9DB0-3E9CC25013E0}"/>
              </a:ext>
            </a:extLst>
          </p:cNvPr>
          <p:cNvGrpSpPr/>
          <p:nvPr userDrawn="1"/>
        </p:nvGrpSpPr>
        <p:grpSpPr>
          <a:xfrm>
            <a:off x="8365383" y="-2165893"/>
            <a:ext cx="942109" cy="4219541"/>
            <a:chOff x="6471577" y="-492936"/>
            <a:chExt cx="862012" cy="3860801"/>
          </a:xfrm>
        </p:grpSpPr>
        <p:sp>
          <p:nvSpPr>
            <p:cNvPr id="101" name="Oval 98">
              <a:extLst>
                <a:ext uri="{FF2B5EF4-FFF2-40B4-BE49-F238E27FC236}">
                  <a16:creationId xmlns:a16="http://schemas.microsoft.com/office/drawing/2014/main" id="{71BEB671-EEE3-4EAD-87D5-253C038878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317101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99">
              <a:extLst>
                <a:ext uri="{FF2B5EF4-FFF2-40B4-BE49-F238E27FC236}">
                  <a16:creationId xmlns:a16="http://schemas.microsoft.com/office/drawing/2014/main" id="{14A8B69D-53CD-458A-BB54-ED6B42315E4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2837640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100">
              <a:extLst>
                <a:ext uri="{FF2B5EF4-FFF2-40B4-BE49-F238E27FC236}">
                  <a16:creationId xmlns:a16="http://schemas.microsoft.com/office/drawing/2014/main" id="{BE669D69-6EB7-401C-A030-07A7CC8BC5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250426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101">
              <a:extLst>
                <a:ext uri="{FF2B5EF4-FFF2-40B4-BE49-F238E27FC236}">
                  <a16:creationId xmlns:a16="http://schemas.microsoft.com/office/drawing/2014/main" id="{7DA4D2AD-B269-4805-BDD8-BB24B662DD1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217247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102">
              <a:extLst>
                <a:ext uri="{FF2B5EF4-FFF2-40B4-BE49-F238E27FC236}">
                  <a16:creationId xmlns:a16="http://schemas.microsoft.com/office/drawing/2014/main" id="{8997CF8D-9781-4CCF-B898-24E6E369F0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839102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103">
              <a:extLst>
                <a:ext uri="{FF2B5EF4-FFF2-40B4-BE49-F238E27FC236}">
                  <a16:creationId xmlns:a16="http://schemas.microsoft.com/office/drawing/2014/main" id="{A66C1256-2699-40B3-96C5-9110505F30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50572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104">
              <a:extLst>
                <a:ext uri="{FF2B5EF4-FFF2-40B4-BE49-F238E27FC236}">
                  <a16:creationId xmlns:a16="http://schemas.microsoft.com/office/drawing/2014/main" id="{E90D6470-1435-48E0-8B78-25C11D7A30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17235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105">
              <a:extLst>
                <a:ext uri="{FF2B5EF4-FFF2-40B4-BE49-F238E27FC236}">
                  <a16:creationId xmlns:a16="http://schemas.microsoft.com/office/drawing/2014/main" id="{9783E793-34AD-4D2A-84E4-46FE488C60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838977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106">
              <a:extLst>
                <a:ext uri="{FF2B5EF4-FFF2-40B4-BE49-F238E27FC236}">
                  <a16:creationId xmlns:a16="http://schemas.microsoft.com/office/drawing/2014/main" id="{C3AE801E-3B9F-42E7-9E4B-985A7B16431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50560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107">
              <a:extLst>
                <a:ext uri="{FF2B5EF4-FFF2-40B4-BE49-F238E27FC236}">
                  <a16:creationId xmlns:a16="http://schemas.microsoft.com/office/drawing/2014/main" id="{5BDD1123-94F5-49CA-B293-32C95DAA38C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73815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108">
              <a:extLst>
                <a:ext uri="{FF2B5EF4-FFF2-40B4-BE49-F238E27FC236}">
                  <a16:creationId xmlns:a16="http://schemas.microsoft.com/office/drawing/2014/main" id="{4FA1C3D8-9B5A-4755-8837-ACF1920E756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-159560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Oval 109">
              <a:extLst>
                <a:ext uri="{FF2B5EF4-FFF2-40B4-BE49-F238E27FC236}">
                  <a16:creationId xmlns:a16="http://schemas.microsoft.com/office/drawing/2014/main" id="{9ACE3CA1-C7AF-4F7A-8BBD-D2CA795428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-492936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Oval 119">
              <a:extLst>
                <a:ext uri="{FF2B5EF4-FFF2-40B4-BE49-F238E27FC236}">
                  <a16:creationId xmlns:a16="http://schemas.microsoft.com/office/drawing/2014/main" id="{7866A7EC-4AD7-4C30-ACE7-CF513E4017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3171015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120">
              <a:extLst>
                <a:ext uri="{FF2B5EF4-FFF2-40B4-BE49-F238E27FC236}">
                  <a16:creationId xmlns:a16="http://schemas.microsoft.com/office/drawing/2014/main" id="{E320A397-C31C-4963-AE27-1620AF24EC6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2837640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121">
              <a:extLst>
                <a:ext uri="{FF2B5EF4-FFF2-40B4-BE49-F238E27FC236}">
                  <a16:creationId xmlns:a16="http://schemas.microsoft.com/office/drawing/2014/main" id="{E9FD5D61-D835-45C6-ADAE-B22EAF9A2E7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2504265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Oval 122">
              <a:extLst>
                <a:ext uri="{FF2B5EF4-FFF2-40B4-BE49-F238E27FC236}">
                  <a16:creationId xmlns:a16="http://schemas.microsoft.com/office/drawing/2014/main" id="{5962A5EC-5994-4E0C-969F-CEA92F472E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2172477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123">
              <a:extLst>
                <a:ext uri="{FF2B5EF4-FFF2-40B4-BE49-F238E27FC236}">
                  <a16:creationId xmlns:a16="http://schemas.microsoft.com/office/drawing/2014/main" id="{323B0012-29A5-4315-AB49-C83337C848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839102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" name="Oval 124">
              <a:extLst>
                <a:ext uri="{FF2B5EF4-FFF2-40B4-BE49-F238E27FC236}">
                  <a16:creationId xmlns:a16="http://schemas.microsoft.com/office/drawing/2014/main" id="{6D5D2888-849C-4796-96C2-472CDBA72B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505727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" name="Oval 125">
              <a:extLst>
                <a:ext uri="{FF2B5EF4-FFF2-40B4-BE49-F238E27FC236}">
                  <a16:creationId xmlns:a16="http://schemas.microsoft.com/office/drawing/2014/main" id="{54BF2F7A-FC65-4183-B72D-09264AC2D2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172352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" name="Oval 126">
              <a:extLst>
                <a:ext uri="{FF2B5EF4-FFF2-40B4-BE49-F238E27FC236}">
                  <a16:creationId xmlns:a16="http://schemas.microsoft.com/office/drawing/2014/main" id="{C3E16FE1-4F4D-4640-846D-90512F8298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838977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0" name="Oval 127">
              <a:extLst>
                <a:ext uri="{FF2B5EF4-FFF2-40B4-BE49-F238E27FC236}">
                  <a16:creationId xmlns:a16="http://schemas.microsoft.com/office/drawing/2014/main" id="{2E40CBEB-CCE8-47BC-ABE7-0E0022F6363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505602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1" name="Oval 128">
              <a:extLst>
                <a:ext uri="{FF2B5EF4-FFF2-40B4-BE49-F238E27FC236}">
                  <a16:creationId xmlns:a16="http://schemas.microsoft.com/office/drawing/2014/main" id="{532E4513-56B0-4194-97DC-AEAED4AB88C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73815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2" name="Oval 129">
              <a:extLst>
                <a:ext uri="{FF2B5EF4-FFF2-40B4-BE49-F238E27FC236}">
                  <a16:creationId xmlns:a16="http://schemas.microsoft.com/office/drawing/2014/main" id="{81DC5E20-CE6F-4EA3-80DD-0BDBEFC3F1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-159560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3" name="Oval 130">
              <a:extLst>
                <a:ext uri="{FF2B5EF4-FFF2-40B4-BE49-F238E27FC236}">
                  <a16:creationId xmlns:a16="http://schemas.microsoft.com/office/drawing/2014/main" id="{BB6A501F-4E7E-477D-AFCC-294194F130A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-492936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3" name="Oval 140">
              <a:extLst>
                <a:ext uri="{FF2B5EF4-FFF2-40B4-BE49-F238E27FC236}">
                  <a16:creationId xmlns:a16="http://schemas.microsoft.com/office/drawing/2014/main" id="{5B3BA18B-A9D7-4C4A-A4A0-832B2D73C7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317101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4" name="Oval 141">
              <a:extLst>
                <a:ext uri="{FF2B5EF4-FFF2-40B4-BE49-F238E27FC236}">
                  <a16:creationId xmlns:a16="http://schemas.microsoft.com/office/drawing/2014/main" id="{E3D68A70-1BEA-4664-BFEF-9B6D65A615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2837640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5" name="Oval 142">
              <a:extLst>
                <a:ext uri="{FF2B5EF4-FFF2-40B4-BE49-F238E27FC236}">
                  <a16:creationId xmlns:a16="http://schemas.microsoft.com/office/drawing/2014/main" id="{98D3F2EB-605E-4BAB-AC67-1EF347A33D8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250426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6" name="Oval 143">
              <a:extLst>
                <a:ext uri="{FF2B5EF4-FFF2-40B4-BE49-F238E27FC236}">
                  <a16:creationId xmlns:a16="http://schemas.microsoft.com/office/drawing/2014/main" id="{E4B65F11-6A5D-4352-8EF6-851172ABF2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217247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7" name="Oval 144">
              <a:extLst>
                <a:ext uri="{FF2B5EF4-FFF2-40B4-BE49-F238E27FC236}">
                  <a16:creationId xmlns:a16="http://schemas.microsoft.com/office/drawing/2014/main" id="{EF07443A-72E9-4DFE-9190-0666BB35CBD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839102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8" name="Oval 145">
              <a:extLst>
                <a:ext uri="{FF2B5EF4-FFF2-40B4-BE49-F238E27FC236}">
                  <a16:creationId xmlns:a16="http://schemas.microsoft.com/office/drawing/2014/main" id="{A43AD91C-A09F-46C0-A965-BDEC35EC4CF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50572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9" name="Oval 146">
              <a:extLst>
                <a:ext uri="{FF2B5EF4-FFF2-40B4-BE49-F238E27FC236}">
                  <a16:creationId xmlns:a16="http://schemas.microsoft.com/office/drawing/2014/main" id="{665D86DA-D2AA-41E4-AE6D-50B75A6641C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17235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0" name="Oval 147">
              <a:extLst>
                <a:ext uri="{FF2B5EF4-FFF2-40B4-BE49-F238E27FC236}">
                  <a16:creationId xmlns:a16="http://schemas.microsoft.com/office/drawing/2014/main" id="{ED69CF65-0D39-4DC4-AFD4-CB116031108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838977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1" name="Oval 148">
              <a:extLst>
                <a:ext uri="{FF2B5EF4-FFF2-40B4-BE49-F238E27FC236}">
                  <a16:creationId xmlns:a16="http://schemas.microsoft.com/office/drawing/2014/main" id="{BFAA4C38-FAB5-4120-8FAC-B143C44CBB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50560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2" name="Oval 149">
              <a:extLst>
                <a:ext uri="{FF2B5EF4-FFF2-40B4-BE49-F238E27FC236}">
                  <a16:creationId xmlns:a16="http://schemas.microsoft.com/office/drawing/2014/main" id="{A48E6827-6197-4C25-8AFB-396327E4503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73815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3" name="Oval 150">
              <a:extLst>
                <a:ext uri="{FF2B5EF4-FFF2-40B4-BE49-F238E27FC236}">
                  <a16:creationId xmlns:a16="http://schemas.microsoft.com/office/drawing/2014/main" id="{B909D6C1-BFC5-4026-A61C-13DA026692F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-159560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4" name="Oval 151">
              <a:extLst>
                <a:ext uri="{FF2B5EF4-FFF2-40B4-BE49-F238E27FC236}">
                  <a16:creationId xmlns:a16="http://schemas.microsoft.com/office/drawing/2014/main" id="{10B4D036-C982-4EAF-A1CD-F72FCF1232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-492936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55" name="Text Placeholder 11">
            <a:extLst>
              <a:ext uri="{FF2B5EF4-FFF2-40B4-BE49-F238E27FC236}">
                <a16:creationId xmlns:a16="http://schemas.microsoft.com/office/drawing/2014/main" id="{55869B7E-D8E1-433F-B064-C0A2F3E512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68233" y="3205267"/>
            <a:ext cx="2027912" cy="105156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56" name="Text Placeholder 11">
            <a:extLst>
              <a:ext uri="{FF2B5EF4-FFF2-40B4-BE49-F238E27FC236}">
                <a16:creationId xmlns:a16="http://schemas.microsoft.com/office/drawing/2014/main" id="{21319365-C724-4C3A-A4B1-6C39763F826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65383" y="2571278"/>
            <a:ext cx="3331623" cy="231953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38363211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6B37FCA-8B74-4C06-97B5-B789D456EB6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92441" y="803423"/>
            <a:ext cx="5251158" cy="5251156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EDAC9BD1-DD57-44ED-9816-F1439ED85E6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02730" y="1813711"/>
            <a:ext cx="3230580" cy="3230578"/>
          </a:xfrm>
          <a:prstGeom prst="ellipse">
            <a:avLst/>
          </a:prstGeom>
          <a:pattFill prst="pct6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0325AAF3-58E8-4F74-9DF1-F5D5F84EB1E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514266" y="2625247"/>
            <a:ext cx="1607508" cy="1607506"/>
          </a:xfrm>
          <a:prstGeom prst="ellipse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1AF2ECD0-6F6F-434A-8AD7-6CF8D88D8BC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45378" y="1456516"/>
            <a:ext cx="3563690" cy="184785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2B731DF1-E9DB-4233-B18B-1CC0E16F16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36723" y="3304366"/>
            <a:ext cx="3497037" cy="185057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5592924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86275A41-8286-4819-9704-C679D8EC20E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" y="0"/>
            <a:ext cx="12191999" cy="6858000"/>
          </a:xfrm>
          <a:custGeom>
            <a:avLst/>
            <a:gdLst>
              <a:gd name="connsiteX0" fmla="*/ 4165400 w 12191999"/>
              <a:gd name="connsiteY0" fmla="*/ 1051923 h 6858000"/>
              <a:gd name="connsiteX1" fmla="*/ 1648567 w 12191999"/>
              <a:gd name="connsiteY1" fmla="*/ 3568756 h 6858000"/>
              <a:gd name="connsiteX2" fmla="*/ 4165400 w 12191999"/>
              <a:gd name="connsiteY2" fmla="*/ 6085589 h 6858000"/>
              <a:gd name="connsiteX3" fmla="*/ 6378465 w 12191999"/>
              <a:gd name="connsiteY3" fmla="*/ 4768428 h 6858000"/>
              <a:gd name="connsiteX4" fmla="*/ 6405508 w 12191999"/>
              <a:gd name="connsiteY4" fmla="*/ 4712291 h 6858000"/>
              <a:gd name="connsiteX5" fmla="*/ 6498227 w 12191999"/>
              <a:gd name="connsiteY5" fmla="*/ 4756956 h 6858000"/>
              <a:gd name="connsiteX6" fmla="*/ 7000173 w 12191999"/>
              <a:gd name="connsiteY6" fmla="*/ 4858294 h 6858000"/>
              <a:gd name="connsiteX7" fmla="*/ 8289711 w 12191999"/>
              <a:gd name="connsiteY7" fmla="*/ 3568756 h 6858000"/>
              <a:gd name="connsiteX8" fmla="*/ 7000173 w 12191999"/>
              <a:gd name="connsiteY8" fmla="*/ 2279218 h 6858000"/>
              <a:gd name="connsiteX9" fmla="*/ 6498227 w 12191999"/>
              <a:gd name="connsiteY9" fmla="*/ 2380556 h 6858000"/>
              <a:gd name="connsiteX10" fmla="*/ 6405508 w 12191999"/>
              <a:gd name="connsiteY10" fmla="*/ 2425222 h 6858000"/>
              <a:gd name="connsiteX11" fmla="*/ 6378465 w 12191999"/>
              <a:gd name="connsiteY11" fmla="*/ 2369084 h 6858000"/>
              <a:gd name="connsiteX12" fmla="*/ 4165400 w 12191999"/>
              <a:gd name="connsiteY12" fmla="*/ 1051923 h 6858000"/>
              <a:gd name="connsiteX13" fmla="*/ 0 w 12191999"/>
              <a:gd name="connsiteY13" fmla="*/ 0 h 6858000"/>
              <a:gd name="connsiteX14" fmla="*/ 12191999 w 12191999"/>
              <a:gd name="connsiteY14" fmla="*/ 0 h 6858000"/>
              <a:gd name="connsiteX15" fmla="*/ 12191999 w 12191999"/>
              <a:gd name="connsiteY15" fmla="*/ 6858000 h 6858000"/>
              <a:gd name="connsiteX16" fmla="*/ 0 w 12191999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1999" h="6858000">
                <a:moveTo>
                  <a:pt x="4165400" y="1051923"/>
                </a:moveTo>
                <a:cubicBezTo>
                  <a:pt x="2775392" y="1051923"/>
                  <a:pt x="1648567" y="2178748"/>
                  <a:pt x="1648567" y="3568756"/>
                </a:cubicBezTo>
                <a:cubicBezTo>
                  <a:pt x="1648567" y="4958764"/>
                  <a:pt x="2775392" y="6085589"/>
                  <a:pt x="4165400" y="6085589"/>
                </a:cubicBezTo>
                <a:cubicBezTo>
                  <a:pt x="5121031" y="6085589"/>
                  <a:pt x="5952266" y="5552988"/>
                  <a:pt x="6378465" y="4768428"/>
                </a:cubicBezTo>
                <a:lnTo>
                  <a:pt x="6405508" y="4712291"/>
                </a:lnTo>
                <a:lnTo>
                  <a:pt x="6498227" y="4756956"/>
                </a:lnTo>
                <a:cubicBezTo>
                  <a:pt x="6652505" y="4822210"/>
                  <a:pt x="6822125" y="4858294"/>
                  <a:pt x="7000173" y="4858294"/>
                </a:cubicBezTo>
                <a:cubicBezTo>
                  <a:pt x="7712365" y="4858294"/>
                  <a:pt x="8289711" y="4280948"/>
                  <a:pt x="8289711" y="3568756"/>
                </a:cubicBezTo>
                <a:cubicBezTo>
                  <a:pt x="8289711" y="2856564"/>
                  <a:pt x="7712365" y="2279218"/>
                  <a:pt x="7000173" y="2279218"/>
                </a:cubicBezTo>
                <a:cubicBezTo>
                  <a:pt x="6822125" y="2279218"/>
                  <a:pt x="6652505" y="2315302"/>
                  <a:pt x="6498227" y="2380556"/>
                </a:cubicBezTo>
                <a:lnTo>
                  <a:pt x="6405508" y="2425222"/>
                </a:lnTo>
                <a:lnTo>
                  <a:pt x="6378465" y="2369084"/>
                </a:lnTo>
                <a:cubicBezTo>
                  <a:pt x="5952266" y="1584524"/>
                  <a:pt x="5121031" y="1051923"/>
                  <a:pt x="4165400" y="1051923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3456B2D2-4BB4-4F7A-8988-A16320792CB5}"/>
              </a:ext>
            </a:extLst>
          </p:cNvPr>
          <p:cNvSpPr/>
          <p:nvPr userDrawn="1"/>
        </p:nvSpPr>
        <p:spPr>
          <a:xfrm>
            <a:off x="1648568" y="1051923"/>
            <a:ext cx="5033666" cy="5033666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1" name="Text Placeholder 11">
            <a:extLst>
              <a:ext uri="{FF2B5EF4-FFF2-40B4-BE49-F238E27FC236}">
                <a16:creationId xmlns:a16="http://schemas.microsoft.com/office/drawing/2014/main" id="{F9277A47-139D-402B-864D-5EDAA662DC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00486" y="2949359"/>
            <a:ext cx="1817602" cy="95473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2" name="Text Placeholder 11">
            <a:extLst>
              <a:ext uri="{FF2B5EF4-FFF2-40B4-BE49-F238E27FC236}">
                <a16:creationId xmlns:a16="http://schemas.microsoft.com/office/drawing/2014/main" id="{07D10957-D011-48DA-845E-A687286BD7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94857" y="2949360"/>
            <a:ext cx="2844155" cy="1238792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600" i="1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41096371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F2DB4E25-524D-4562-AFF0-D98DCBDAD29E}"/>
              </a:ext>
            </a:extLst>
          </p:cNvPr>
          <p:cNvGrpSpPr/>
          <p:nvPr userDrawn="1"/>
        </p:nvGrpSpPr>
        <p:grpSpPr>
          <a:xfrm>
            <a:off x="6251673" y="1682535"/>
            <a:ext cx="3485272" cy="3211966"/>
            <a:chOff x="1438275" y="2505075"/>
            <a:chExt cx="2206625" cy="2033588"/>
          </a:xfrm>
          <a:solidFill>
            <a:schemeClr val="tx2">
              <a:lumMod val="85000"/>
            </a:schemeClr>
          </a:solidFill>
        </p:grpSpPr>
        <p:sp>
          <p:nvSpPr>
            <p:cNvPr id="9" name="Oval 177">
              <a:extLst>
                <a:ext uri="{FF2B5EF4-FFF2-40B4-BE49-F238E27FC236}">
                  <a16:creationId xmlns:a16="http://schemas.microsoft.com/office/drawing/2014/main" id="{B0A58D96-3290-4F65-9F83-6A4ED8DA54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178">
              <a:extLst>
                <a:ext uri="{FF2B5EF4-FFF2-40B4-BE49-F238E27FC236}">
                  <a16:creationId xmlns:a16="http://schemas.microsoft.com/office/drawing/2014/main" id="{C0F541E1-218C-4653-8629-976BE8B6F2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179">
              <a:extLst>
                <a:ext uri="{FF2B5EF4-FFF2-40B4-BE49-F238E27FC236}">
                  <a16:creationId xmlns:a16="http://schemas.microsoft.com/office/drawing/2014/main" id="{FC37C82D-6C9C-4E66-855E-4AE96B2957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Oval 180">
              <a:extLst>
                <a:ext uri="{FF2B5EF4-FFF2-40B4-BE49-F238E27FC236}">
                  <a16:creationId xmlns:a16="http://schemas.microsoft.com/office/drawing/2014/main" id="{EC057E97-49F9-4C72-87F6-5E84B1D0DD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Oval 181">
              <a:extLst>
                <a:ext uri="{FF2B5EF4-FFF2-40B4-BE49-F238E27FC236}">
                  <a16:creationId xmlns:a16="http://schemas.microsoft.com/office/drawing/2014/main" id="{A61FF569-A00F-4A56-8B26-C726C859B54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Oval 182">
              <a:extLst>
                <a:ext uri="{FF2B5EF4-FFF2-40B4-BE49-F238E27FC236}">
                  <a16:creationId xmlns:a16="http://schemas.microsoft.com/office/drawing/2014/main" id="{CE1B33F5-08AA-4858-BB22-AC9293C32A3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Oval 183">
              <a:extLst>
                <a:ext uri="{FF2B5EF4-FFF2-40B4-BE49-F238E27FC236}">
                  <a16:creationId xmlns:a16="http://schemas.microsoft.com/office/drawing/2014/main" id="{FE982E33-85A4-4CCA-9FEB-543D3C6B4B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Oval 184">
              <a:extLst>
                <a:ext uri="{FF2B5EF4-FFF2-40B4-BE49-F238E27FC236}">
                  <a16:creationId xmlns:a16="http://schemas.microsoft.com/office/drawing/2014/main" id="{A5741F05-9B43-498D-AC16-88D5B467E8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Oval 185">
              <a:extLst>
                <a:ext uri="{FF2B5EF4-FFF2-40B4-BE49-F238E27FC236}">
                  <a16:creationId xmlns:a16="http://schemas.microsoft.com/office/drawing/2014/main" id="{69A2787E-C4A8-4F91-A212-F26B589A46E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Oval 186">
              <a:extLst>
                <a:ext uri="{FF2B5EF4-FFF2-40B4-BE49-F238E27FC236}">
                  <a16:creationId xmlns:a16="http://schemas.microsoft.com/office/drawing/2014/main" id="{4FF33D72-89C3-4E70-B2D0-34BF3EC9A72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187">
              <a:extLst>
                <a:ext uri="{FF2B5EF4-FFF2-40B4-BE49-F238E27FC236}">
                  <a16:creationId xmlns:a16="http://schemas.microsoft.com/office/drawing/2014/main" id="{14267895-5A2F-4897-9759-8E16B37097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42592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Oval 188">
              <a:extLst>
                <a:ext uri="{FF2B5EF4-FFF2-40B4-BE49-F238E27FC236}">
                  <a16:creationId xmlns:a16="http://schemas.microsoft.com/office/drawing/2014/main" id="{2F0866C6-BCFA-491D-AD99-4FFBEB9A87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408463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189">
              <a:extLst>
                <a:ext uri="{FF2B5EF4-FFF2-40B4-BE49-F238E27FC236}">
                  <a16:creationId xmlns:a16="http://schemas.microsoft.com/office/drawing/2014/main" id="{51B491EE-05CD-41FE-87B1-1801F8A0F42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190">
              <a:extLst>
                <a:ext uri="{FF2B5EF4-FFF2-40B4-BE49-F238E27FC236}">
                  <a16:creationId xmlns:a16="http://schemas.microsoft.com/office/drawing/2014/main" id="{DB36A33D-32C0-437A-9643-6908C92700E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191">
              <a:extLst>
                <a:ext uri="{FF2B5EF4-FFF2-40B4-BE49-F238E27FC236}">
                  <a16:creationId xmlns:a16="http://schemas.microsoft.com/office/drawing/2014/main" id="{16381E82-1D8E-4BE2-8457-0A9AA6E1A28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192">
              <a:extLst>
                <a:ext uri="{FF2B5EF4-FFF2-40B4-BE49-F238E27FC236}">
                  <a16:creationId xmlns:a16="http://schemas.microsoft.com/office/drawing/2014/main" id="{FA6F652B-0521-4FCC-B858-12B84128311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193">
              <a:extLst>
                <a:ext uri="{FF2B5EF4-FFF2-40B4-BE49-F238E27FC236}">
                  <a16:creationId xmlns:a16="http://schemas.microsoft.com/office/drawing/2014/main" id="{E3AC5F52-2A8A-4E25-9DB9-4C2BF2D517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Oval 194">
              <a:extLst>
                <a:ext uri="{FF2B5EF4-FFF2-40B4-BE49-F238E27FC236}">
                  <a16:creationId xmlns:a16="http://schemas.microsoft.com/office/drawing/2014/main" id="{601C969C-6DAA-4838-9717-DBC9A0FF391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195">
              <a:extLst>
                <a:ext uri="{FF2B5EF4-FFF2-40B4-BE49-F238E27FC236}">
                  <a16:creationId xmlns:a16="http://schemas.microsoft.com/office/drawing/2014/main" id="{8C26B012-6F76-448C-8B06-8B176C0881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408463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196">
              <a:extLst>
                <a:ext uri="{FF2B5EF4-FFF2-40B4-BE49-F238E27FC236}">
                  <a16:creationId xmlns:a16="http://schemas.microsoft.com/office/drawing/2014/main" id="{A4C20285-BED5-4464-9D89-C5C151D8C2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197">
              <a:extLst>
                <a:ext uri="{FF2B5EF4-FFF2-40B4-BE49-F238E27FC236}">
                  <a16:creationId xmlns:a16="http://schemas.microsoft.com/office/drawing/2014/main" id="{9F83A388-5EE0-4491-A5D1-47723B8A61F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198">
              <a:extLst>
                <a:ext uri="{FF2B5EF4-FFF2-40B4-BE49-F238E27FC236}">
                  <a16:creationId xmlns:a16="http://schemas.microsoft.com/office/drawing/2014/main" id="{B83F7365-C9FD-434E-A42A-B72578C2CAA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9084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199">
              <a:extLst>
                <a:ext uri="{FF2B5EF4-FFF2-40B4-BE49-F238E27FC236}">
                  <a16:creationId xmlns:a16="http://schemas.microsoft.com/office/drawing/2014/main" id="{51A8027B-A47E-4847-A9BE-59380F08BB2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200">
              <a:extLst>
                <a:ext uri="{FF2B5EF4-FFF2-40B4-BE49-F238E27FC236}">
                  <a16:creationId xmlns:a16="http://schemas.microsoft.com/office/drawing/2014/main" id="{238CED36-A32D-4149-8357-71B8D76988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201">
              <a:extLst>
                <a:ext uri="{FF2B5EF4-FFF2-40B4-BE49-F238E27FC236}">
                  <a16:creationId xmlns:a16="http://schemas.microsoft.com/office/drawing/2014/main" id="{515B485D-B93D-446E-848B-4A2728690A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202">
              <a:extLst>
                <a:ext uri="{FF2B5EF4-FFF2-40B4-BE49-F238E27FC236}">
                  <a16:creationId xmlns:a16="http://schemas.microsoft.com/office/drawing/2014/main" id="{E3380CD2-7E3F-4EB6-8CC4-576B9D40D6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203">
              <a:extLst>
                <a:ext uri="{FF2B5EF4-FFF2-40B4-BE49-F238E27FC236}">
                  <a16:creationId xmlns:a16="http://schemas.microsoft.com/office/drawing/2014/main" id="{C24297E6-2036-4E5A-935E-673870EC5A8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204">
              <a:extLst>
                <a:ext uri="{FF2B5EF4-FFF2-40B4-BE49-F238E27FC236}">
                  <a16:creationId xmlns:a16="http://schemas.microsoft.com/office/drawing/2014/main" id="{05FF5DE2-6907-43B6-836D-09D2CA7024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205">
              <a:extLst>
                <a:ext uri="{FF2B5EF4-FFF2-40B4-BE49-F238E27FC236}">
                  <a16:creationId xmlns:a16="http://schemas.microsoft.com/office/drawing/2014/main" id="{3FA11DA8-1F30-4661-B380-A9CAA1A532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9084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206">
              <a:extLst>
                <a:ext uri="{FF2B5EF4-FFF2-40B4-BE49-F238E27FC236}">
                  <a16:creationId xmlns:a16="http://schemas.microsoft.com/office/drawing/2014/main" id="{A9CC89BE-93E5-435B-B225-B6685EE65ED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207">
              <a:extLst>
                <a:ext uri="{FF2B5EF4-FFF2-40B4-BE49-F238E27FC236}">
                  <a16:creationId xmlns:a16="http://schemas.microsoft.com/office/drawing/2014/main" id="{81888D4F-CA83-4442-9C0B-D1E5D6BA07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208">
              <a:extLst>
                <a:ext uri="{FF2B5EF4-FFF2-40B4-BE49-F238E27FC236}">
                  <a16:creationId xmlns:a16="http://schemas.microsoft.com/office/drawing/2014/main" id="{94AAF66D-8304-4232-8A47-CCB37D4C82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209">
              <a:extLst>
                <a:ext uri="{FF2B5EF4-FFF2-40B4-BE49-F238E27FC236}">
                  <a16:creationId xmlns:a16="http://schemas.microsoft.com/office/drawing/2014/main" id="{E3F59D5F-57E8-48B0-B6A1-15522B4D06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73380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210">
              <a:extLst>
                <a:ext uri="{FF2B5EF4-FFF2-40B4-BE49-F238E27FC236}">
                  <a16:creationId xmlns:a16="http://schemas.microsoft.com/office/drawing/2014/main" id="{3540FCFB-8BB7-4380-BFE8-FA61478399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Oval 211">
              <a:extLst>
                <a:ext uri="{FF2B5EF4-FFF2-40B4-BE49-F238E27FC236}">
                  <a16:creationId xmlns:a16="http://schemas.microsoft.com/office/drawing/2014/main" id="{31D290AF-7AB8-4905-A5CB-5317CBA9DFF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Oval 212">
              <a:extLst>
                <a:ext uri="{FF2B5EF4-FFF2-40B4-BE49-F238E27FC236}">
                  <a16:creationId xmlns:a16="http://schemas.microsoft.com/office/drawing/2014/main" id="{DE1E270D-C831-4BBF-B351-0B8C200A6C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Oval 213">
              <a:extLst>
                <a:ext uri="{FF2B5EF4-FFF2-40B4-BE49-F238E27FC236}">
                  <a16:creationId xmlns:a16="http://schemas.microsoft.com/office/drawing/2014/main" id="{55D72CAB-C61C-4769-8242-63E75845FBC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Oval 214">
              <a:extLst>
                <a:ext uri="{FF2B5EF4-FFF2-40B4-BE49-F238E27FC236}">
                  <a16:creationId xmlns:a16="http://schemas.microsoft.com/office/drawing/2014/main" id="{C757AFD4-F0D5-42D4-B4C6-479A5175FDC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Oval 215">
              <a:extLst>
                <a:ext uri="{FF2B5EF4-FFF2-40B4-BE49-F238E27FC236}">
                  <a16:creationId xmlns:a16="http://schemas.microsoft.com/office/drawing/2014/main" id="{D7C02829-EB70-4AFA-9624-13892A0E23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Oval 216">
              <a:extLst>
                <a:ext uri="{FF2B5EF4-FFF2-40B4-BE49-F238E27FC236}">
                  <a16:creationId xmlns:a16="http://schemas.microsoft.com/office/drawing/2014/main" id="{57626EC3-6B40-4DEE-BE1B-3F297D92AD6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73380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Oval 217">
              <a:extLst>
                <a:ext uri="{FF2B5EF4-FFF2-40B4-BE49-F238E27FC236}">
                  <a16:creationId xmlns:a16="http://schemas.microsoft.com/office/drawing/2014/main" id="{A0ED74AF-1FA3-4DA2-A8DD-E7330B6D592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Oval 218">
              <a:extLst>
                <a:ext uri="{FF2B5EF4-FFF2-40B4-BE49-F238E27FC236}">
                  <a16:creationId xmlns:a16="http://schemas.microsoft.com/office/drawing/2014/main" id="{1705C728-1D8B-4083-83E4-37A2F5411D6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Oval 219">
              <a:extLst>
                <a:ext uri="{FF2B5EF4-FFF2-40B4-BE49-F238E27FC236}">
                  <a16:creationId xmlns:a16="http://schemas.microsoft.com/office/drawing/2014/main" id="{F9304C31-4602-4948-93A3-9473820465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Oval 220">
              <a:extLst>
                <a:ext uri="{FF2B5EF4-FFF2-40B4-BE49-F238E27FC236}">
                  <a16:creationId xmlns:a16="http://schemas.microsoft.com/office/drawing/2014/main" id="{2A38B00C-9F22-4DBC-AA79-A86DE125E3E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5575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Oval 221">
              <a:extLst>
                <a:ext uri="{FF2B5EF4-FFF2-40B4-BE49-F238E27FC236}">
                  <a16:creationId xmlns:a16="http://schemas.microsoft.com/office/drawing/2014/main" id="{71AC74BF-007D-4DEF-83EA-03C00766F2C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Oval 222">
              <a:extLst>
                <a:ext uri="{FF2B5EF4-FFF2-40B4-BE49-F238E27FC236}">
                  <a16:creationId xmlns:a16="http://schemas.microsoft.com/office/drawing/2014/main" id="{28827BDF-F881-4A74-9CC1-F8142AC8FEA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Oval 223">
              <a:extLst>
                <a:ext uri="{FF2B5EF4-FFF2-40B4-BE49-F238E27FC236}">
                  <a16:creationId xmlns:a16="http://schemas.microsoft.com/office/drawing/2014/main" id="{E3CF467A-0D85-48C8-871E-FF460F85C7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Oval 224">
              <a:extLst>
                <a:ext uri="{FF2B5EF4-FFF2-40B4-BE49-F238E27FC236}">
                  <a16:creationId xmlns:a16="http://schemas.microsoft.com/office/drawing/2014/main" id="{50A94F25-9242-417F-8A23-FA38A12F270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Oval 225">
              <a:extLst>
                <a:ext uri="{FF2B5EF4-FFF2-40B4-BE49-F238E27FC236}">
                  <a16:creationId xmlns:a16="http://schemas.microsoft.com/office/drawing/2014/main" id="{00D3E8A3-22F7-44B4-BE94-1A29997050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Oval 226">
              <a:extLst>
                <a:ext uri="{FF2B5EF4-FFF2-40B4-BE49-F238E27FC236}">
                  <a16:creationId xmlns:a16="http://schemas.microsoft.com/office/drawing/2014/main" id="{0AC6E549-1EEE-400D-A0FE-A27BF45DE3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Oval 227">
              <a:extLst>
                <a:ext uri="{FF2B5EF4-FFF2-40B4-BE49-F238E27FC236}">
                  <a16:creationId xmlns:a16="http://schemas.microsoft.com/office/drawing/2014/main" id="{CC70BC59-AC63-4DCA-AA0D-0C276E00B4A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5575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Oval 228">
              <a:extLst>
                <a:ext uri="{FF2B5EF4-FFF2-40B4-BE49-F238E27FC236}">
                  <a16:creationId xmlns:a16="http://schemas.microsoft.com/office/drawing/2014/main" id="{34778BEF-E6F4-4C6D-B166-1AFD8C0262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Oval 229">
              <a:extLst>
                <a:ext uri="{FF2B5EF4-FFF2-40B4-BE49-F238E27FC236}">
                  <a16:creationId xmlns:a16="http://schemas.microsoft.com/office/drawing/2014/main" id="{D8B5DB50-0FA5-4923-A8D4-839A57E1527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Oval 230">
              <a:extLst>
                <a:ext uri="{FF2B5EF4-FFF2-40B4-BE49-F238E27FC236}">
                  <a16:creationId xmlns:a16="http://schemas.microsoft.com/office/drawing/2014/main" id="{CA940131-0A19-43D3-A4E5-750F78AE657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4382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Oval 231">
              <a:extLst>
                <a:ext uri="{FF2B5EF4-FFF2-40B4-BE49-F238E27FC236}">
                  <a16:creationId xmlns:a16="http://schemas.microsoft.com/office/drawing/2014/main" id="{AE898C46-61A2-476A-9E62-2EE25214AE6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232">
              <a:extLst>
                <a:ext uri="{FF2B5EF4-FFF2-40B4-BE49-F238E27FC236}">
                  <a16:creationId xmlns:a16="http://schemas.microsoft.com/office/drawing/2014/main" id="{4AFB33F5-040C-4CC7-9838-C990E44AA5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3829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Oval 233">
              <a:extLst>
                <a:ext uri="{FF2B5EF4-FFF2-40B4-BE49-F238E27FC236}">
                  <a16:creationId xmlns:a16="http://schemas.microsoft.com/office/drawing/2014/main" id="{D448ACF0-97F4-4460-A83B-3AAD70B4EF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Oval 234">
              <a:extLst>
                <a:ext uri="{FF2B5EF4-FFF2-40B4-BE49-F238E27FC236}">
                  <a16:creationId xmlns:a16="http://schemas.microsoft.com/office/drawing/2014/main" id="{A974476C-9B20-4FFB-B2E6-907D337799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Oval 235">
              <a:extLst>
                <a:ext uri="{FF2B5EF4-FFF2-40B4-BE49-F238E27FC236}">
                  <a16:creationId xmlns:a16="http://schemas.microsoft.com/office/drawing/2014/main" id="{0CB3D234-BE4A-4037-B5DC-4B9CC672B83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Oval 236">
              <a:extLst>
                <a:ext uri="{FF2B5EF4-FFF2-40B4-BE49-F238E27FC236}">
                  <a16:creationId xmlns:a16="http://schemas.microsoft.com/office/drawing/2014/main" id="{55F070CA-F949-4046-890A-B4CA377BCAA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237">
              <a:extLst>
                <a:ext uri="{FF2B5EF4-FFF2-40B4-BE49-F238E27FC236}">
                  <a16:creationId xmlns:a16="http://schemas.microsoft.com/office/drawing/2014/main" id="{B8A4B83E-CA4D-4C82-A990-3C50080104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238">
              <a:extLst>
                <a:ext uri="{FF2B5EF4-FFF2-40B4-BE49-F238E27FC236}">
                  <a16:creationId xmlns:a16="http://schemas.microsoft.com/office/drawing/2014/main" id="{112926B8-947A-4D70-88DF-9CB78DEFD3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239">
              <a:extLst>
                <a:ext uri="{FF2B5EF4-FFF2-40B4-BE49-F238E27FC236}">
                  <a16:creationId xmlns:a16="http://schemas.microsoft.com/office/drawing/2014/main" id="{4B4A9CEF-19FD-4079-85FB-CD5B05C066D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3829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240">
              <a:extLst>
                <a:ext uri="{FF2B5EF4-FFF2-40B4-BE49-F238E27FC236}">
                  <a16:creationId xmlns:a16="http://schemas.microsoft.com/office/drawing/2014/main" id="{AAE11889-2D54-476A-AF8D-FFC267627D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Oval 241">
              <a:extLst>
                <a:ext uri="{FF2B5EF4-FFF2-40B4-BE49-F238E27FC236}">
                  <a16:creationId xmlns:a16="http://schemas.microsoft.com/office/drawing/2014/main" id="{830A9442-1C01-4D12-A5EF-8F6EADE48AD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Oval 242">
              <a:extLst>
                <a:ext uri="{FF2B5EF4-FFF2-40B4-BE49-F238E27FC236}">
                  <a16:creationId xmlns:a16="http://schemas.microsoft.com/office/drawing/2014/main" id="{E9B77662-A705-4256-B18C-051AFC65A4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54171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Oval 243">
              <a:extLst>
                <a:ext uri="{FF2B5EF4-FFF2-40B4-BE49-F238E27FC236}">
                  <a16:creationId xmlns:a16="http://schemas.microsoft.com/office/drawing/2014/main" id="{3314599D-1ED0-4E92-8E12-4131A2CDE6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Oval 244">
              <a:extLst>
                <a:ext uri="{FF2B5EF4-FFF2-40B4-BE49-F238E27FC236}">
                  <a16:creationId xmlns:a16="http://schemas.microsoft.com/office/drawing/2014/main" id="{2366F00D-74D5-43FF-9E37-A9067F426BF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20675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Oval 245">
              <a:extLst>
                <a:ext uri="{FF2B5EF4-FFF2-40B4-BE49-F238E27FC236}">
                  <a16:creationId xmlns:a16="http://schemas.microsoft.com/office/drawing/2014/main" id="{0BAF31B3-4455-43AF-AF61-535008A3B2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Oval 246">
              <a:extLst>
                <a:ext uri="{FF2B5EF4-FFF2-40B4-BE49-F238E27FC236}">
                  <a16:creationId xmlns:a16="http://schemas.microsoft.com/office/drawing/2014/main" id="{E9101E80-D10A-4AB2-9A9C-7F2D139C32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Oval 247">
              <a:extLst>
                <a:ext uri="{FF2B5EF4-FFF2-40B4-BE49-F238E27FC236}">
                  <a16:creationId xmlns:a16="http://schemas.microsoft.com/office/drawing/2014/main" id="{C418D1A1-4E2D-4793-8C52-423DC7A7E05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Oval 248">
              <a:extLst>
                <a:ext uri="{FF2B5EF4-FFF2-40B4-BE49-F238E27FC236}">
                  <a16:creationId xmlns:a16="http://schemas.microsoft.com/office/drawing/2014/main" id="{85414967-4C4F-4171-850D-1B263342B3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Oval 249">
              <a:extLst>
                <a:ext uri="{FF2B5EF4-FFF2-40B4-BE49-F238E27FC236}">
                  <a16:creationId xmlns:a16="http://schemas.microsoft.com/office/drawing/2014/main" id="{01DA22FB-D4A4-4F69-9363-8A0FB6222B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Oval 250">
              <a:extLst>
                <a:ext uri="{FF2B5EF4-FFF2-40B4-BE49-F238E27FC236}">
                  <a16:creationId xmlns:a16="http://schemas.microsoft.com/office/drawing/2014/main" id="{D266FCD6-ED8B-4E92-A77C-5A7E4A4EC3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Oval 251">
              <a:extLst>
                <a:ext uri="{FF2B5EF4-FFF2-40B4-BE49-F238E27FC236}">
                  <a16:creationId xmlns:a16="http://schemas.microsoft.com/office/drawing/2014/main" id="{DCE5940A-4D21-4E09-8326-742335DFDB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20675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Oval 252">
              <a:extLst>
                <a:ext uri="{FF2B5EF4-FFF2-40B4-BE49-F238E27FC236}">
                  <a16:creationId xmlns:a16="http://schemas.microsoft.com/office/drawing/2014/main" id="{F0FB68F2-1237-4E5F-BB32-3D3ED2F7DF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Oval 253">
              <a:extLst>
                <a:ext uri="{FF2B5EF4-FFF2-40B4-BE49-F238E27FC236}">
                  <a16:creationId xmlns:a16="http://schemas.microsoft.com/office/drawing/2014/main" id="{855AC9F3-FABD-409D-A5E6-968E995C13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Oval 254">
              <a:extLst>
                <a:ext uri="{FF2B5EF4-FFF2-40B4-BE49-F238E27FC236}">
                  <a16:creationId xmlns:a16="http://schemas.microsoft.com/office/drawing/2014/main" id="{6C608C3B-3629-4C93-B6F7-79E328EC5D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Oval 255">
              <a:extLst>
                <a:ext uri="{FF2B5EF4-FFF2-40B4-BE49-F238E27FC236}">
                  <a16:creationId xmlns:a16="http://schemas.microsoft.com/office/drawing/2014/main" id="{E9BC4349-10F5-4B99-9BB2-BEA1D3EE73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0321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Oval 256">
              <a:extLst>
                <a:ext uri="{FF2B5EF4-FFF2-40B4-BE49-F238E27FC236}">
                  <a16:creationId xmlns:a16="http://schemas.microsoft.com/office/drawing/2014/main" id="{779E1AF4-63F6-4FFA-88C6-E2534CBFB7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Oval 257">
              <a:extLst>
                <a:ext uri="{FF2B5EF4-FFF2-40B4-BE49-F238E27FC236}">
                  <a16:creationId xmlns:a16="http://schemas.microsoft.com/office/drawing/2014/main" id="{C0173986-3279-45F9-A7F6-A7670FBBF7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Oval 258">
              <a:extLst>
                <a:ext uri="{FF2B5EF4-FFF2-40B4-BE49-F238E27FC236}">
                  <a16:creationId xmlns:a16="http://schemas.microsoft.com/office/drawing/2014/main" id="{4BF416B9-BFCC-4BE6-86A6-4CDDCA1EC8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Oval 259">
              <a:extLst>
                <a:ext uri="{FF2B5EF4-FFF2-40B4-BE49-F238E27FC236}">
                  <a16:creationId xmlns:a16="http://schemas.microsoft.com/office/drawing/2014/main" id="{F481F848-3662-449E-9C80-DA548C70F1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Oval 260">
              <a:extLst>
                <a:ext uri="{FF2B5EF4-FFF2-40B4-BE49-F238E27FC236}">
                  <a16:creationId xmlns:a16="http://schemas.microsoft.com/office/drawing/2014/main" id="{0F83A813-5914-41AC-894E-850816D2FF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Oval 261">
              <a:extLst>
                <a:ext uri="{FF2B5EF4-FFF2-40B4-BE49-F238E27FC236}">
                  <a16:creationId xmlns:a16="http://schemas.microsoft.com/office/drawing/2014/main" id="{0FD22879-5CDC-41DE-BBCB-4A75AE55BF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Oval 262">
              <a:extLst>
                <a:ext uri="{FF2B5EF4-FFF2-40B4-BE49-F238E27FC236}">
                  <a16:creationId xmlns:a16="http://schemas.microsoft.com/office/drawing/2014/main" id="{D6335B7C-92E7-4FB2-96DF-7B7083DDF51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0321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Oval 263">
              <a:extLst>
                <a:ext uri="{FF2B5EF4-FFF2-40B4-BE49-F238E27FC236}">
                  <a16:creationId xmlns:a16="http://schemas.microsoft.com/office/drawing/2014/main" id="{606EA6A1-D043-4A16-9B15-9F3F28253AF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264">
              <a:extLst>
                <a:ext uri="{FF2B5EF4-FFF2-40B4-BE49-F238E27FC236}">
                  <a16:creationId xmlns:a16="http://schemas.microsoft.com/office/drawing/2014/main" id="{BA6ADF8C-137D-4423-B39F-D139FF6CB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Oval 265">
              <a:extLst>
                <a:ext uri="{FF2B5EF4-FFF2-40B4-BE49-F238E27FC236}">
                  <a16:creationId xmlns:a16="http://schemas.microsoft.com/office/drawing/2014/main" id="{0B42C052-FC38-4B21-89BF-A54CE2C885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285591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Oval 266">
              <a:extLst>
                <a:ext uri="{FF2B5EF4-FFF2-40B4-BE49-F238E27FC236}">
                  <a16:creationId xmlns:a16="http://schemas.microsoft.com/office/drawing/2014/main" id="{DD863C70-1EE7-49AB-B80C-0613259C5E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267">
              <a:extLst>
                <a:ext uri="{FF2B5EF4-FFF2-40B4-BE49-F238E27FC236}">
                  <a16:creationId xmlns:a16="http://schemas.microsoft.com/office/drawing/2014/main" id="{DB859637-E030-4424-92B6-AC54824FDAE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268">
              <a:extLst>
                <a:ext uri="{FF2B5EF4-FFF2-40B4-BE49-F238E27FC236}">
                  <a16:creationId xmlns:a16="http://schemas.microsoft.com/office/drawing/2014/main" id="{C16EDC0A-3EFE-4A5B-AD4D-A9ACA07FB14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269">
              <a:extLst>
                <a:ext uri="{FF2B5EF4-FFF2-40B4-BE49-F238E27FC236}">
                  <a16:creationId xmlns:a16="http://schemas.microsoft.com/office/drawing/2014/main" id="{FAFEAE41-7EF8-4200-AFE2-F7D3F5FF4A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270">
              <a:extLst>
                <a:ext uri="{FF2B5EF4-FFF2-40B4-BE49-F238E27FC236}">
                  <a16:creationId xmlns:a16="http://schemas.microsoft.com/office/drawing/2014/main" id="{2D144F19-5765-4157-88C1-2BAC0CD29C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271">
              <a:extLst>
                <a:ext uri="{FF2B5EF4-FFF2-40B4-BE49-F238E27FC236}">
                  <a16:creationId xmlns:a16="http://schemas.microsoft.com/office/drawing/2014/main" id="{40DAF1D5-567E-4C03-91AE-AE522F7D79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272">
              <a:extLst>
                <a:ext uri="{FF2B5EF4-FFF2-40B4-BE49-F238E27FC236}">
                  <a16:creationId xmlns:a16="http://schemas.microsoft.com/office/drawing/2014/main" id="{598C73BB-558A-4E6F-9DD0-1825495F0A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285591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273">
              <a:extLst>
                <a:ext uri="{FF2B5EF4-FFF2-40B4-BE49-F238E27FC236}">
                  <a16:creationId xmlns:a16="http://schemas.microsoft.com/office/drawing/2014/main" id="{F49FACF5-0412-4251-B089-9B304C2680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274">
              <a:extLst>
                <a:ext uri="{FF2B5EF4-FFF2-40B4-BE49-F238E27FC236}">
                  <a16:creationId xmlns:a16="http://schemas.microsoft.com/office/drawing/2014/main" id="{5472E81A-FD98-46BD-8A89-C613754FC5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275">
              <a:extLst>
                <a:ext uri="{FF2B5EF4-FFF2-40B4-BE49-F238E27FC236}">
                  <a16:creationId xmlns:a16="http://schemas.microsoft.com/office/drawing/2014/main" id="{92587CB0-453A-41E8-9C65-2E6E1C10E5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276">
              <a:extLst>
                <a:ext uri="{FF2B5EF4-FFF2-40B4-BE49-F238E27FC236}">
                  <a16:creationId xmlns:a16="http://schemas.microsoft.com/office/drawing/2014/main" id="{595D7881-AA69-49D8-8291-BC5ABA84C7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277">
              <a:extLst>
                <a:ext uri="{FF2B5EF4-FFF2-40B4-BE49-F238E27FC236}">
                  <a16:creationId xmlns:a16="http://schemas.microsoft.com/office/drawing/2014/main" id="{11948AE9-DF83-46D6-B1E0-961CD269DA8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278">
              <a:extLst>
                <a:ext uri="{FF2B5EF4-FFF2-40B4-BE49-F238E27FC236}">
                  <a16:creationId xmlns:a16="http://schemas.microsoft.com/office/drawing/2014/main" id="{7C8906E2-5D11-4E32-9390-77E802D7C1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279">
              <a:extLst>
                <a:ext uri="{FF2B5EF4-FFF2-40B4-BE49-F238E27FC236}">
                  <a16:creationId xmlns:a16="http://schemas.microsoft.com/office/drawing/2014/main" id="{D5B1BED4-081F-4E99-9476-5E20BF1B32E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Oval 280">
              <a:extLst>
                <a:ext uri="{FF2B5EF4-FFF2-40B4-BE49-F238E27FC236}">
                  <a16:creationId xmlns:a16="http://schemas.microsoft.com/office/drawing/2014/main" id="{31660935-7946-40CB-9CF8-853A890C3E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26812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Oval 281">
              <a:extLst>
                <a:ext uri="{FF2B5EF4-FFF2-40B4-BE49-F238E27FC236}">
                  <a16:creationId xmlns:a16="http://schemas.microsoft.com/office/drawing/2014/main" id="{AA91DF65-FBF1-4794-A287-A03D4A6ECE5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Oval 282">
              <a:extLst>
                <a:ext uri="{FF2B5EF4-FFF2-40B4-BE49-F238E27FC236}">
                  <a16:creationId xmlns:a16="http://schemas.microsoft.com/office/drawing/2014/main" id="{AB4C197B-94B4-428D-A694-6F9FB2BCB52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Oval 283">
              <a:extLst>
                <a:ext uri="{FF2B5EF4-FFF2-40B4-BE49-F238E27FC236}">
                  <a16:creationId xmlns:a16="http://schemas.microsoft.com/office/drawing/2014/main" id="{AD43281F-BD3F-44CF-A809-63796500D9F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6" name="Oval 115">
            <a:extLst>
              <a:ext uri="{FF2B5EF4-FFF2-40B4-BE49-F238E27FC236}">
                <a16:creationId xmlns:a16="http://schemas.microsoft.com/office/drawing/2014/main" id="{480314AA-B8CB-48AB-915C-1F3F9C0A2919}"/>
              </a:ext>
            </a:extLst>
          </p:cNvPr>
          <p:cNvSpPr/>
          <p:nvPr userDrawn="1"/>
        </p:nvSpPr>
        <p:spPr>
          <a:xfrm>
            <a:off x="5621223" y="-1512973"/>
            <a:ext cx="4746172" cy="4746172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AD37835-2BDC-4145-BC01-FB81B5C935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52655" y="0"/>
            <a:ext cx="6539345" cy="6858000"/>
          </a:xfrm>
          <a:custGeom>
            <a:avLst/>
            <a:gdLst>
              <a:gd name="connsiteX0" fmla="*/ 0 w 6539345"/>
              <a:gd name="connsiteY0" fmla="*/ 6858000 h 6858000"/>
              <a:gd name="connsiteX1" fmla="*/ 187036 w 6539345"/>
              <a:gd name="connsiteY1" fmla="*/ 6858000 h 6858000"/>
              <a:gd name="connsiteX2" fmla="*/ 0 w 6539345"/>
              <a:gd name="connsiteY2" fmla="*/ 6858000 h 6858000"/>
              <a:gd name="connsiteX3" fmla="*/ 187036 w 6539345"/>
              <a:gd name="connsiteY3" fmla="*/ 0 h 6858000"/>
              <a:gd name="connsiteX4" fmla="*/ 6539345 w 6539345"/>
              <a:gd name="connsiteY4" fmla="*/ 0 h 6858000"/>
              <a:gd name="connsiteX5" fmla="*/ 6539345 w 6539345"/>
              <a:gd name="connsiteY5" fmla="*/ 6858000 h 6858000"/>
              <a:gd name="connsiteX6" fmla="*/ 187036 w 6539345"/>
              <a:gd name="connsiteY6" fmla="*/ 6858000 h 6858000"/>
              <a:gd name="connsiteX7" fmla="*/ 3567545 w 6539345"/>
              <a:gd name="connsiteY7" fmla="*/ 3429000 h 6858000"/>
              <a:gd name="connsiteX8" fmla="*/ 187036 w 6539345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39345" h="6858000">
                <a:moveTo>
                  <a:pt x="0" y="6858000"/>
                </a:moveTo>
                <a:lnTo>
                  <a:pt x="187036" y="6858000"/>
                </a:lnTo>
                <a:lnTo>
                  <a:pt x="0" y="6858000"/>
                </a:lnTo>
                <a:close/>
                <a:moveTo>
                  <a:pt x="187036" y="0"/>
                </a:moveTo>
                <a:lnTo>
                  <a:pt x="6539345" y="0"/>
                </a:lnTo>
                <a:lnTo>
                  <a:pt x="6539345" y="6858000"/>
                </a:lnTo>
                <a:lnTo>
                  <a:pt x="187036" y="6858000"/>
                </a:lnTo>
                <a:cubicBezTo>
                  <a:pt x="2054040" y="6858000"/>
                  <a:pt x="3567545" y="5322784"/>
                  <a:pt x="3567545" y="3429000"/>
                </a:cubicBezTo>
                <a:cubicBezTo>
                  <a:pt x="3567545" y="1535216"/>
                  <a:pt x="2054040" y="0"/>
                  <a:pt x="187036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095" y="102703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1095" y="6382238"/>
            <a:ext cx="2743200" cy="365125"/>
          </a:xfrm>
        </p:spPr>
        <p:txBody>
          <a:bodyPr/>
          <a:lstStyle>
            <a:lvl1pPr algn="l"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7" name="Text Placeholder 11">
            <a:extLst>
              <a:ext uri="{FF2B5EF4-FFF2-40B4-BE49-F238E27FC236}">
                <a16:creationId xmlns:a16="http://schemas.microsoft.com/office/drawing/2014/main" id="{301ADE4E-1B86-4814-AD1E-0BBA851FB2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7823" y="1456516"/>
            <a:ext cx="4401773" cy="1847850"/>
          </a:xfrm>
        </p:spPr>
        <p:txBody>
          <a:bodyPr>
            <a:normAutofit/>
          </a:bodyPr>
          <a:lstStyle>
            <a:lvl1pPr marL="0" indent="0">
              <a:buNone/>
              <a:defRPr sz="2400" u="sng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8" name="Text Placeholder 11">
            <a:extLst>
              <a:ext uri="{FF2B5EF4-FFF2-40B4-BE49-F238E27FC236}">
                <a16:creationId xmlns:a16="http://schemas.microsoft.com/office/drawing/2014/main" id="{D8C01938-A602-49BD-9282-4B4C2AA7CA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52695" y="3304366"/>
            <a:ext cx="3497037" cy="185057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26018475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>
            <a:extLst>
              <a:ext uri="{FF2B5EF4-FFF2-40B4-BE49-F238E27FC236}">
                <a16:creationId xmlns:a16="http://schemas.microsoft.com/office/drawing/2014/main" id="{4EC8ED47-D061-4E72-BFEC-80343D2E81C0}"/>
              </a:ext>
            </a:extLst>
          </p:cNvPr>
          <p:cNvGrpSpPr/>
          <p:nvPr userDrawn="1"/>
        </p:nvGrpSpPr>
        <p:grpSpPr>
          <a:xfrm>
            <a:off x="4111113" y="2490917"/>
            <a:ext cx="2446246" cy="2254418"/>
            <a:chOff x="1438275" y="2505075"/>
            <a:chExt cx="2206625" cy="2033588"/>
          </a:xfrm>
          <a:solidFill>
            <a:schemeClr val="tx2">
              <a:lumMod val="85000"/>
            </a:schemeClr>
          </a:solidFill>
        </p:grpSpPr>
        <p:sp>
          <p:nvSpPr>
            <p:cNvPr id="27" name="Oval 177">
              <a:extLst>
                <a:ext uri="{FF2B5EF4-FFF2-40B4-BE49-F238E27FC236}">
                  <a16:creationId xmlns:a16="http://schemas.microsoft.com/office/drawing/2014/main" id="{D5C7C4FD-6E20-4B22-A536-3A70BF98CC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178">
              <a:extLst>
                <a:ext uri="{FF2B5EF4-FFF2-40B4-BE49-F238E27FC236}">
                  <a16:creationId xmlns:a16="http://schemas.microsoft.com/office/drawing/2014/main" id="{807F2D35-784E-453C-A24A-8E86C3B70CC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179">
              <a:extLst>
                <a:ext uri="{FF2B5EF4-FFF2-40B4-BE49-F238E27FC236}">
                  <a16:creationId xmlns:a16="http://schemas.microsoft.com/office/drawing/2014/main" id="{2A56A7A9-9322-4146-B685-0ADB458D26A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180">
              <a:extLst>
                <a:ext uri="{FF2B5EF4-FFF2-40B4-BE49-F238E27FC236}">
                  <a16:creationId xmlns:a16="http://schemas.microsoft.com/office/drawing/2014/main" id="{3B5BED6C-4799-4956-A807-DDF32271CEE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181">
              <a:extLst>
                <a:ext uri="{FF2B5EF4-FFF2-40B4-BE49-F238E27FC236}">
                  <a16:creationId xmlns:a16="http://schemas.microsoft.com/office/drawing/2014/main" id="{120F47C5-3ED8-45D2-B6C8-0AE16EEA16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182">
              <a:extLst>
                <a:ext uri="{FF2B5EF4-FFF2-40B4-BE49-F238E27FC236}">
                  <a16:creationId xmlns:a16="http://schemas.microsoft.com/office/drawing/2014/main" id="{D32C9834-6650-4F58-B647-335509C909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183">
              <a:extLst>
                <a:ext uri="{FF2B5EF4-FFF2-40B4-BE49-F238E27FC236}">
                  <a16:creationId xmlns:a16="http://schemas.microsoft.com/office/drawing/2014/main" id="{F1B6F4DE-5B8E-4BE8-A281-58D2A49A4F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184">
              <a:extLst>
                <a:ext uri="{FF2B5EF4-FFF2-40B4-BE49-F238E27FC236}">
                  <a16:creationId xmlns:a16="http://schemas.microsoft.com/office/drawing/2014/main" id="{82B1B573-E322-4337-95FE-D80BD68E55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185">
              <a:extLst>
                <a:ext uri="{FF2B5EF4-FFF2-40B4-BE49-F238E27FC236}">
                  <a16:creationId xmlns:a16="http://schemas.microsoft.com/office/drawing/2014/main" id="{81202F8A-9148-463B-B516-B824EAE071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186">
              <a:extLst>
                <a:ext uri="{FF2B5EF4-FFF2-40B4-BE49-F238E27FC236}">
                  <a16:creationId xmlns:a16="http://schemas.microsoft.com/office/drawing/2014/main" id="{4A9BA5A1-344D-4116-B63A-4EBCD0ADD2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187">
              <a:extLst>
                <a:ext uri="{FF2B5EF4-FFF2-40B4-BE49-F238E27FC236}">
                  <a16:creationId xmlns:a16="http://schemas.microsoft.com/office/drawing/2014/main" id="{1B777B14-8949-47E6-BFE8-743BEE4255C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42592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188">
              <a:extLst>
                <a:ext uri="{FF2B5EF4-FFF2-40B4-BE49-F238E27FC236}">
                  <a16:creationId xmlns:a16="http://schemas.microsoft.com/office/drawing/2014/main" id="{428E201E-8714-4E27-B861-625FC71FFF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408463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189">
              <a:extLst>
                <a:ext uri="{FF2B5EF4-FFF2-40B4-BE49-F238E27FC236}">
                  <a16:creationId xmlns:a16="http://schemas.microsoft.com/office/drawing/2014/main" id="{07C149F7-7784-4E2C-8DAF-921ACF67A2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190">
              <a:extLst>
                <a:ext uri="{FF2B5EF4-FFF2-40B4-BE49-F238E27FC236}">
                  <a16:creationId xmlns:a16="http://schemas.microsoft.com/office/drawing/2014/main" id="{78E07999-D675-4A84-A77A-A7B75A04CA9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191">
              <a:extLst>
                <a:ext uri="{FF2B5EF4-FFF2-40B4-BE49-F238E27FC236}">
                  <a16:creationId xmlns:a16="http://schemas.microsoft.com/office/drawing/2014/main" id="{FB069969-65CE-46E5-BB04-E126ADA2CCD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192">
              <a:extLst>
                <a:ext uri="{FF2B5EF4-FFF2-40B4-BE49-F238E27FC236}">
                  <a16:creationId xmlns:a16="http://schemas.microsoft.com/office/drawing/2014/main" id="{EED0BD9F-6F11-470E-A733-0944D965B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Oval 193">
              <a:extLst>
                <a:ext uri="{FF2B5EF4-FFF2-40B4-BE49-F238E27FC236}">
                  <a16:creationId xmlns:a16="http://schemas.microsoft.com/office/drawing/2014/main" id="{115DC1E0-E464-4C02-9594-1A1E6E3B44A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Oval 194">
              <a:extLst>
                <a:ext uri="{FF2B5EF4-FFF2-40B4-BE49-F238E27FC236}">
                  <a16:creationId xmlns:a16="http://schemas.microsoft.com/office/drawing/2014/main" id="{52AAE15B-DE8D-48CD-BFEC-6B2A1DCF68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Oval 195">
              <a:extLst>
                <a:ext uri="{FF2B5EF4-FFF2-40B4-BE49-F238E27FC236}">
                  <a16:creationId xmlns:a16="http://schemas.microsoft.com/office/drawing/2014/main" id="{295AF729-C125-447C-95C6-5DAD615B4B8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408463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Oval 196">
              <a:extLst>
                <a:ext uri="{FF2B5EF4-FFF2-40B4-BE49-F238E27FC236}">
                  <a16:creationId xmlns:a16="http://schemas.microsoft.com/office/drawing/2014/main" id="{535199DC-E01A-4FB9-9A60-2A7BFF58D1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Oval 197">
              <a:extLst>
                <a:ext uri="{FF2B5EF4-FFF2-40B4-BE49-F238E27FC236}">
                  <a16:creationId xmlns:a16="http://schemas.microsoft.com/office/drawing/2014/main" id="{DD9B36DC-399D-4C69-A6AF-25F32275132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Oval 198">
              <a:extLst>
                <a:ext uri="{FF2B5EF4-FFF2-40B4-BE49-F238E27FC236}">
                  <a16:creationId xmlns:a16="http://schemas.microsoft.com/office/drawing/2014/main" id="{E07DB633-563C-4F70-AC79-A6FE3CD06C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9084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Oval 199">
              <a:extLst>
                <a:ext uri="{FF2B5EF4-FFF2-40B4-BE49-F238E27FC236}">
                  <a16:creationId xmlns:a16="http://schemas.microsoft.com/office/drawing/2014/main" id="{EEE9A4EE-8E3F-4221-A848-52F1E644AF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Oval 200">
              <a:extLst>
                <a:ext uri="{FF2B5EF4-FFF2-40B4-BE49-F238E27FC236}">
                  <a16:creationId xmlns:a16="http://schemas.microsoft.com/office/drawing/2014/main" id="{8871F650-9B16-4769-8BB8-1813D01086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Oval 201">
              <a:extLst>
                <a:ext uri="{FF2B5EF4-FFF2-40B4-BE49-F238E27FC236}">
                  <a16:creationId xmlns:a16="http://schemas.microsoft.com/office/drawing/2014/main" id="{B440F9ED-283B-4BF8-8348-99886B0B8EB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Oval 202">
              <a:extLst>
                <a:ext uri="{FF2B5EF4-FFF2-40B4-BE49-F238E27FC236}">
                  <a16:creationId xmlns:a16="http://schemas.microsoft.com/office/drawing/2014/main" id="{42754874-A64D-4954-90D3-D243C667AE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Oval 203">
              <a:extLst>
                <a:ext uri="{FF2B5EF4-FFF2-40B4-BE49-F238E27FC236}">
                  <a16:creationId xmlns:a16="http://schemas.microsoft.com/office/drawing/2014/main" id="{A739F6AD-6BCE-4958-89A1-9BB74F9DC8D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Oval 204">
              <a:extLst>
                <a:ext uri="{FF2B5EF4-FFF2-40B4-BE49-F238E27FC236}">
                  <a16:creationId xmlns:a16="http://schemas.microsoft.com/office/drawing/2014/main" id="{8F73071A-77C4-41FE-BDFB-7DE47977D67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Oval 205">
              <a:extLst>
                <a:ext uri="{FF2B5EF4-FFF2-40B4-BE49-F238E27FC236}">
                  <a16:creationId xmlns:a16="http://schemas.microsoft.com/office/drawing/2014/main" id="{552B28A9-A6BD-47D4-AE5B-F95C082890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9084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Oval 206">
              <a:extLst>
                <a:ext uri="{FF2B5EF4-FFF2-40B4-BE49-F238E27FC236}">
                  <a16:creationId xmlns:a16="http://schemas.microsoft.com/office/drawing/2014/main" id="{BD4ED160-1620-4BC3-9A7B-C5F5569AF3F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Oval 207">
              <a:extLst>
                <a:ext uri="{FF2B5EF4-FFF2-40B4-BE49-F238E27FC236}">
                  <a16:creationId xmlns:a16="http://schemas.microsoft.com/office/drawing/2014/main" id="{335BD911-E33F-4ECA-81CC-47F4231D2F8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Oval 208">
              <a:extLst>
                <a:ext uri="{FF2B5EF4-FFF2-40B4-BE49-F238E27FC236}">
                  <a16:creationId xmlns:a16="http://schemas.microsoft.com/office/drawing/2014/main" id="{11338E36-D9FD-4AA7-AD1E-3C074703D1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Oval 209">
              <a:extLst>
                <a:ext uri="{FF2B5EF4-FFF2-40B4-BE49-F238E27FC236}">
                  <a16:creationId xmlns:a16="http://schemas.microsoft.com/office/drawing/2014/main" id="{A9F5C614-E84B-4B1E-B56A-6B3DF92C62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73380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Oval 210">
              <a:extLst>
                <a:ext uri="{FF2B5EF4-FFF2-40B4-BE49-F238E27FC236}">
                  <a16:creationId xmlns:a16="http://schemas.microsoft.com/office/drawing/2014/main" id="{7B17AAFB-C81B-4209-BB3F-0E283EFEBBB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Oval 211">
              <a:extLst>
                <a:ext uri="{FF2B5EF4-FFF2-40B4-BE49-F238E27FC236}">
                  <a16:creationId xmlns:a16="http://schemas.microsoft.com/office/drawing/2014/main" id="{864EF404-8869-44E8-B5CB-3CA4FB58D20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Oval 212">
              <a:extLst>
                <a:ext uri="{FF2B5EF4-FFF2-40B4-BE49-F238E27FC236}">
                  <a16:creationId xmlns:a16="http://schemas.microsoft.com/office/drawing/2014/main" id="{720008BC-CDAA-405D-A1D4-316B42AC86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Oval 213">
              <a:extLst>
                <a:ext uri="{FF2B5EF4-FFF2-40B4-BE49-F238E27FC236}">
                  <a16:creationId xmlns:a16="http://schemas.microsoft.com/office/drawing/2014/main" id="{47C33E47-D6DB-4DDF-A78A-F7F25EDAB4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214">
              <a:extLst>
                <a:ext uri="{FF2B5EF4-FFF2-40B4-BE49-F238E27FC236}">
                  <a16:creationId xmlns:a16="http://schemas.microsoft.com/office/drawing/2014/main" id="{D229266A-9A51-42DE-A263-A80E806F16B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Oval 215">
              <a:extLst>
                <a:ext uri="{FF2B5EF4-FFF2-40B4-BE49-F238E27FC236}">
                  <a16:creationId xmlns:a16="http://schemas.microsoft.com/office/drawing/2014/main" id="{16C882DD-3E5A-4F4B-AB33-575666EE80B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Oval 216">
              <a:extLst>
                <a:ext uri="{FF2B5EF4-FFF2-40B4-BE49-F238E27FC236}">
                  <a16:creationId xmlns:a16="http://schemas.microsoft.com/office/drawing/2014/main" id="{53DF947E-3D67-4656-9C00-9D23F9A419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73380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Oval 217">
              <a:extLst>
                <a:ext uri="{FF2B5EF4-FFF2-40B4-BE49-F238E27FC236}">
                  <a16:creationId xmlns:a16="http://schemas.microsoft.com/office/drawing/2014/main" id="{5186DA7F-11E9-498E-BA9F-6A5D4CD966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Oval 218">
              <a:extLst>
                <a:ext uri="{FF2B5EF4-FFF2-40B4-BE49-F238E27FC236}">
                  <a16:creationId xmlns:a16="http://schemas.microsoft.com/office/drawing/2014/main" id="{D15DDC0D-E8B8-4023-A8D3-93E2DEF513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219">
              <a:extLst>
                <a:ext uri="{FF2B5EF4-FFF2-40B4-BE49-F238E27FC236}">
                  <a16:creationId xmlns:a16="http://schemas.microsoft.com/office/drawing/2014/main" id="{825AA082-EEB6-408F-B21B-5C4529B5F3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220">
              <a:extLst>
                <a:ext uri="{FF2B5EF4-FFF2-40B4-BE49-F238E27FC236}">
                  <a16:creationId xmlns:a16="http://schemas.microsoft.com/office/drawing/2014/main" id="{9D8A2F54-E74C-4B49-845C-FAFC7119A99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5575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221">
              <a:extLst>
                <a:ext uri="{FF2B5EF4-FFF2-40B4-BE49-F238E27FC236}">
                  <a16:creationId xmlns:a16="http://schemas.microsoft.com/office/drawing/2014/main" id="{DB69536F-8092-432C-922D-9540E18EA5F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222">
              <a:extLst>
                <a:ext uri="{FF2B5EF4-FFF2-40B4-BE49-F238E27FC236}">
                  <a16:creationId xmlns:a16="http://schemas.microsoft.com/office/drawing/2014/main" id="{97E26179-729C-4229-8F51-EE6B20622EA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Oval 223">
              <a:extLst>
                <a:ext uri="{FF2B5EF4-FFF2-40B4-BE49-F238E27FC236}">
                  <a16:creationId xmlns:a16="http://schemas.microsoft.com/office/drawing/2014/main" id="{BD7D7C5B-E3A3-417C-81ED-84E4491368D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Oval 224">
              <a:extLst>
                <a:ext uri="{FF2B5EF4-FFF2-40B4-BE49-F238E27FC236}">
                  <a16:creationId xmlns:a16="http://schemas.microsoft.com/office/drawing/2014/main" id="{DA7BA96A-BC40-4D34-94D9-81CF4E454D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Oval 225">
              <a:extLst>
                <a:ext uri="{FF2B5EF4-FFF2-40B4-BE49-F238E27FC236}">
                  <a16:creationId xmlns:a16="http://schemas.microsoft.com/office/drawing/2014/main" id="{01DD836D-355E-46C8-8A2B-BF299A6EB0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Oval 226">
              <a:extLst>
                <a:ext uri="{FF2B5EF4-FFF2-40B4-BE49-F238E27FC236}">
                  <a16:creationId xmlns:a16="http://schemas.microsoft.com/office/drawing/2014/main" id="{78F80CDF-1281-4660-B96A-54AE56AAF8A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Oval 227">
              <a:extLst>
                <a:ext uri="{FF2B5EF4-FFF2-40B4-BE49-F238E27FC236}">
                  <a16:creationId xmlns:a16="http://schemas.microsoft.com/office/drawing/2014/main" id="{4EC6D5CD-D74B-45D2-BCB9-050CB0B9D98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5575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Oval 228">
              <a:extLst>
                <a:ext uri="{FF2B5EF4-FFF2-40B4-BE49-F238E27FC236}">
                  <a16:creationId xmlns:a16="http://schemas.microsoft.com/office/drawing/2014/main" id="{EEEAF2C9-5E0C-417F-B0D8-0C446AF563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Oval 229">
              <a:extLst>
                <a:ext uri="{FF2B5EF4-FFF2-40B4-BE49-F238E27FC236}">
                  <a16:creationId xmlns:a16="http://schemas.microsoft.com/office/drawing/2014/main" id="{1161D450-FF7C-4DB8-9AA3-AE36F3C2A58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Oval 230">
              <a:extLst>
                <a:ext uri="{FF2B5EF4-FFF2-40B4-BE49-F238E27FC236}">
                  <a16:creationId xmlns:a16="http://schemas.microsoft.com/office/drawing/2014/main" id="{3283E9F3-621C-4930-9C8A-A1AF24CA93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4382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Oval 231">
              <a:extLst>
                <a:ext uri="{FF2B5EF4-FFF2-40B4-BE49-F238E27FC236}">
                  <a16:creationId xmlns:a16="http://schemas.microsoft.com/office/drawing/2014/main" id="{E9958582-B833-462C-8F84-601D169A5B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Oval 232">
              <a:extLst>
                <a:ext uri="{FF2B5EF4-FFF2-40B4-BE49-F238E27FC236}">
                  <a16:creationId xmlns:a16="http://schemas.microsoft.com/office/drawing/2014/main" id="{CB5C4CB7-AB27-420C-88B1-CCB9D0972DC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3829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Oval 233">
              <a:extLst>
                <a:ext uri="{FF2B5EF4-FFF2-40B4-BE49-F238E27FC236}">
                  <a16:creationId xmlns:a16="http://schemas.microsoft.com/office/drawing/2014/main" id="{653E8ED2-F117-463D-A438-93793D8E8F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Oval 234">
              <a:extLst>
                <a:ext uri="{FF2B5EF4-FFF2-40B4-BE49-F238E27FC236}">
                  <a16:creationId xmlns:a16="http://schemas.microsoft.com/office/drawing/2014/main" id="{99C8401B-83A9-45E8-88E7-834796DE83E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Oval 235">
              <a:extLst>
                <a:ext uri="{FF2B5EF4-FFF2-40B4-BE49-F238E27FC236}">
                  <a16:creationId xmlns:a16="http://schemas.microsoft.com/office/drawing/2014/main" id="{1D37F2AC-D77C-4117-A675-9F9061F87E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Oval 236">
              <a:extLst>
                <a:ext uri="{FF2B5EF4-FFF2-40B4-BE49-F238E27FC236}">
                  <a16:creationId xmlns:a16="http://schemas.microsoft.com/office/drawing/2014/main" id="{F4A72FB3-4811-482B-AF1C-0C0E967BCE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Oval 237">
              <a:extLst>
                <a:ext uri="{FF2B5EF4-FFF2-40B4-BE49-F238E27FC236}">
                  <a16:creationId xmlns:a16="http://schemas.microsoft.com/office/drawing/2014/main" id="{742AA803-6FD3-4B24-AE78-05843A09BD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Oval 238">
              <a:extLst>
                <a:ext uri="{FF2B5EF4-FFF2-40B4-BE49-F238E27FC236}">
                  <a16:creationId xmlns:a16="http://schemas.microsoft.com/office/drawing/2014/main" id="{657A1F88-3FD5-4946-B847-9714DBF8D3F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Oval 239">
              <a:extLst>
                <a:ext uri="{FF2B5EF4-FFF2-40B4-BE49-F238E27FC236}">
                  <a16:creationId xmlns:a16="http://schemas.microsoft.com/office/drawing/2014/main" id="{A5996976-EB5E-40F0-B640-71F1D097117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3829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Oval 240">
              <a:extLst>
                <a:ext uri="{FF2B5EF4-FFF2-40B4-BE49-F238E27FC236}">
                  <a16:creationId xmlns:a16="http://schemas.microsoft.com/office/drawing/2014/main" id="{4A43C25A-2536-4480-BFF2-FD8C5F2191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Oval 241">
              <a:extLst>
                <a:ext uri="{FF2B5EF4-FFF2-40B4-BE49-F238E27FC236}">
                  <a16:creationId xmlns:a16="http://schemas.microsoft.com/office/drawing/2014/main" id="{96C0BEA9-797D-4831-9EF0-5CAD7BFB5F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Oval 242">
              <a:extLst>
                <a:ext uri="{FF2B5EF4-FFF2-40B4-BE49-F238E27FC236}">
                  <a16:creationId xmlns:a16="http://schemas.microsoft.com/office/drawing/2014/main" id="{54D93A6D-CF14-47C7-879C-E050666B357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54171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Oval 243">
              <a:extLst>
                <a:ext uri="{FF2B5EF4-FFF2-40B4-BE49-F238E27FC236}">
                  <a16:creationId xmlns:a16="http://schemas.microsoft.com/office/drawing/2014/main" id="{92AE2E63-B74F-4E68-84DE-7323F99FF1C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Oval 244">
              <a:extLst>
                <a:ext uri="{FF2B5EF4-FFF2-40B4-BE49-F238E27FC236}">
                  <a16:creationId xmlns:a16="http://schemas.microsoft.com/office/drawing/2014/main" id="{E9720D54-3775-4408-820D-2C640A192AF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20675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Oval 245">
              <a:extLst>
                <a:ext uri="{FF2B5EF4-FFF2-40B4-BE49-F238E27FC236}">
                  <a16:creationId xmlns:a16="http://schemas.microsoft.com/office/drawing/2014/main" id="{F5CB844C-69D2-40DC-95F1-9467C509AC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246">
              <a:extLst>
                <a:ext uri="{FF2B5EF4-FFF2-40B4-BE49-F238E27FC236}">
                  <a16:creationId xmlns:a16="http://schemas.microsoft.com/office/drawing/2014/main" id="{2D2CFF93-74EC-4256-8D21-AF9C2C8075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Oval 247">
              <a:extLst>
                <a:ext uri="{FF2B5EF4-FFF2-40B4-BE49-F238E27FC236}">
                  <a16:creationId xmlns:a16="http://schemas.microsoft.com/office/drawing/2014/main" id="{B72D326E-3784-4D53-9E69-2A8D5F4E239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Oval 248">
              <a:extLst>
                <a:ext uri="{FF2B5EF4-FFF2-40B4-BE49-F238E27FC236}">
                  <a16:creationId xmlns:a16="http://schemas.microsoft.com/office/drawing/2014/main" id="{D6172E45-0FC9-4D9A-9414-8CF3C53FF72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249">
              <a:extLst>
                <a:ext uri="{FF2B5EF4-FFF2-40B4-BE49-F238E27FC236}">
                  <a16:creationId xmlns:a16="http://schemas.microsoft.com/office/drawing/2014/main" id="{68DB32ED-E1A5-43EF-97EF-3E65AEF3869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250">
              <a:extLst>
                <a:ext uri="{FF2B5EF4-FFF2-40B4-BE49-F238E27FC236}">
                  <a16:creationId xmlns:a16="http://schemas.microsoft.com/office/drawing/2014/main" id="{F8D5D7E5-6109-4FFF-8678-027D5202CB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251">
              <a:extLst>
                <a:ext uri="{FF2B5EF4-FFF2-40B4-BE49-F238E27FC236}">
                  <a16:creationId xmlns:a16="http://schemas.microsoft.com/office/drawing/2014/main" id="{3A48E3E1-3868-461A-A107-6BA2999071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20675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252">
              <a:extLst>
                <a:ext uri="{FF2B5EF4-FFF2-40B4-BE49-F238E27FC236}">
                  <a16:creationId xmlns:a16="http://schemas.microsoft.com/office/drawing/2014/main" id="{00C446EF-4C96-48AF-8C64-442753A074B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253">
              <a:extLst>
                <a:ext uri="{FF2B5EF4-FFF2-40B4-BE49-F238E27FC236}">
                  <a16:creationId xmlns:a16="http://schemas.microsoft.com/office/drawing/2014/main" id="{5A7F4F3A-B660-4C7E-A0F1-C93EFB56517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254">
              <a:extLst>
                <a:ext uri="{FF2B5EF4-FFF2-40B4-BE49-F238E27FC236}">
                  <a16:creationId xmlns:a16="http://schemas.microsoft.com/office/drawing/2014/main" id="{A739493D-9A98-40B1-A993-8A637CE8103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255">
              <a:extLst>
                <a:ext uri="{FF2B5EF4-FFF2-40B4-BE49-F238E27FC236}">
                  <a16:creationId xmlns:a16="http://schemas.microsoft.com/office/drawing/2014/main" id="{77A26EDA-B206-45EF-9062-3395067E05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0321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256">
              <a:extLst>
                <a:ext uri="{FF2B5EF4-FFF2-40B4-BE49-F238E27FC236}">
                  <a16:creationId xmlns:a16="http://schemas.microsoft.com/office/drawing/2014/main" id="{666BABD2-9890-4A0D-885A-963675B7939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257">
              <a:extLst>
                <a:ext uri="{FF2B5EF4-FFF2-40B4-BE49-F238E27FC236}">
                  <a16:creationId xmlns:a16="http://schemas.microsoft.com/office/drawing/2014/main" id="{A06F2B99-B3DA-4CDF-91C0-C1F971F11F8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258">
              <a:extLst>
                <a:ext uri="{FF2B5EF4-FFF2-40B4-BE49-F238E27FC236}">
                  <a16:creationId xmlns:a16="http://schemas.microsoft.com/office/drawing/2014/main" id="{E2FD442A-23B7-4F55-BC5D-A8DAE04445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259">
              <a:extLst>
                <a:ext uri="{FF2B5EF4-FFF2-40B4-BE49-F238E27FC236}">
                  <a16:creationId xmlns:a16="http://schemas.microsoft.com/office/drawing/2014/main" id="{D76C25EB-55AD-438A-8424-06C5D21DED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260">
              <a:extLst>
                <a:ext uri="{FF2B5EF4-FFF2-40B4-BE49-F238E27FC236}">
                  <a16:creationId xmlns:a16="http://schemas.microsoft.com/office/drawing/2014/main" id="{EA1FAE43-2CDF-498D-9D31-3B0F4079A7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261">
              <a:extLst>
                <a:ext uri="{FF2B5EF4-FFF2-40B4-BE49-F238E27FC236}">
                  <a16:creationId xmlns:a16="http://schemas.microsoft.com/office/drawing/2014/main" id="{6397C04C-D0EB-449C-A65E-B7895C073F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Oval 262">
              <a:extLst>
                <a:ext uri="{FF2B5EF4-FFF2-40B4-BE49-F238E27FC236}">
                  <a16:creationId xmlns:a16="http://schemas.microsoft.com/office/drawing/2014/main" id="{4B7DDF39-5CE1-46A9-B40B-EBEDA9C4C2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0321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Oval 263">
              <a:extLst>
                <a:ext uri="{FF2B5EF4-FFF2-40B4-BE49-F238E27FC236}">
                  <a16:creationId xmlns:a16="http://schemas.microsoft.com/office/drawing/2014/main" id="{1B552387-32E7-4E7E-BCDD-E8F7704E69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Oval 264">
              <a:extLst>
                <a:ext uri="{FF2B5EF4-FFF2-40B4-BE49-F238E27FC236}">
                  <a16:creationId xmlns:a16="http://schemas.microsoft.com/office/drawing/2014/main" id="{70293107-C765-4DF0-99F2-EF73D5F1DF1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Oval 265">
              <a:extLst>
                <a:ext uri="{FF2B5EF4-FFF2-40B4-BE49-F238E27FC236}">
                  <a16:creationId xmlns:a16="http://schemas.microsoft.com/office/drawing/2014/main" id="{640EF457-49AB-4A74-A8C8-B00D394CCF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285591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Oval 266">
              <a:extLst>
                <a:ext uri="{FF2B5EF4-FFF2-40B4-BE49-F238E27FC236}">
                  <a16:creationId xmlns:a16="http://schemas.microsoft.com/office/drawing/2014/main" id="{83F6333C-AA24-4F56-94A6-FB385CD373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Oval 267">
              <a:extLst>
                <a:ext uri="{FF2B5EF4-FFF2-40B4-BE49-F238E27FC236}">
                  <a16:creationId xmlns:a16="http://schemas.microsoft.com/office/drawing/2014/main" id="{3183BA7A-FF97-457F-B7BD-F9A587F30C6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Oval 268">
              <a:extLst>
                <a:ext uri="{FF2B5EF4-FFF2-40B4-BE49-F238E27FC236}">
                  <a16:creationId xmlns:a16="http://schemas.microsoft.com/office/drawing/2014/main" id="{BB4F161C-925F-467A-BEC4-9264BD905DB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Oval 269">
              <a:extLst>
                <a:ext uri="{FF2B5EF4-FFF2-40B4-BE49-F238E27FC236}">
                  <a16:creationId xmlns:a16="http://schemas.microsoft.com/office/drawing/2014/main" id="{03177C40-FBED-42B6-870E-8A5E9F93749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Oval 270">
              <a:extLst>
                <a:ext uri="{FF2B5EF4-FFF2-40B4-BE49-F238E27FC236}">
                  <a16:creationId xmlns:a16="http://schemas.microsoft.com/office/drawing/2014/main" id="{714891A3-2B58-42B1-A488-6D2017B8537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Oval 271">
              <a:extLst>
                <a:ext uri="{FF2B5EF4-FFF2-40B4-BE49-F238E27FC236}">
                  <a16:creationId xmlns:a16="http://schemas.microsoft.com/office/drawing/2014/main" id="{6598B0CE-C651-45B1-A9CA-5516E81B69B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Oval 272">
              <a:extLst>
                <a:ext uri="{FF2B5EF4-FFF2-40B4-BE49-F238E27FC236}">
                  <a16:creationId xmlns:a16="http://schemas.microsoft.com/office/drawing/2014/main" id="{3D650EDE-FCC6-4498-981F-D1AA7DE904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285591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273">
              <a:extLst>
                <a:ext uri="{FF2B5EF4-FFF2-40B4-BE49-F238E27FC236}">
                  <a16:creationId xmlns:a16="http://schemas.microsoft.com/office/drawing/2014/main" id="{A510D499-513C-479B-AE8B-72B637643C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274">
              <a:extLst>
                <a:ext uri="{FF2B5EF4-FFF2-40B4-BE49-F238E27FC236}">
                  <a16:creationId xmlns:a16="http://schemas.microsoft.com/office/drawing/2014/main" id="{DBAED21A-6225-4077-B302-6A7A808F06D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Oval 275">
              <a:extLst>
                <a:ext uri="{FF2B5EF4-FFF2-40B4-BE49-F238E27FC236}">
                  <a16:creationId xmlns:a16="http://schemas.microsoft.com/office/drawing/2014/main" id="{8425E9AA-ECF0-4EEE-B063-38D7F6EE51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276">
              <a:extLst>
                <a:ext uri="{FF2B5EF4-FFF2-40B4-BE49-F238E27FC236}">
                  <a16:creationId xmlns:a16="http://schemas.microsoft.com/office/drawing/2014/main" id="{EFCF531B-5EE4-4BE8-A708-2985281FF1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" name="Oval 277">
              <a:extLst>
                <a:ext uri="{FF2B5EF4-FFF2-40B4-BE49-F238E27FC236}">
                  <a16:creationId xmlns:a16="http://schemas.microsoft.com/office/drawing/2014/main" id="{2F213582-1627-4C00-AF8F-7289FDDBE8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" name="Oval 278">
              <a:extLst>
                <a:ext uri="{FF2B5EF4-FFF2-40B4-BE49-F238E27FC236}">
                  <a16:creationId xmlns:a16="http://schemas.microsoft.com/office/drawing/2014/main" id="{C446E179-B8D2-4184-828A-72F56F9CA5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" name="Oval 279">
              <a:extLst>
                <a:ext uri="{FF2B5EF4-FFF2-40B4-BE49-F238E27FC236}">
                  <a16:creationId xmlns:a16="http://schemas.microsoft.com/office/drawing/2014/main" id="{D35A96D2-3CBC-4D31-8E37-60FB8D48D8A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0" name="Oval 280">
              <a:extLst>
                <a:ext uri="{FF2B5EF4-FFF2-40B4-BE49-F238E27FC236}">
                  <a16:creationId xmlns:a16="http://schemas.microsoft.com/office/drawing/2014/main" id="{3FF5E1F5-0E5A-40CA-BEC7-265E387738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26812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1" name="Oval 281">
              <a:extLst>
                <a:ext uri="{FF2B5EF4-FFF2-40B4-BE49-F238E27FC236}">
                  <a16:creationId xmlns:a16="http://schemas.microsoft.com/office/drawing/2014/main" id="{2AA66ACC-B56A-448B-931F-3B4FD0EF91F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2" name="Oval 282">
              <a:extLst>
                <a:ext uri="{FF2B5EF4-FFF2-40B4-BE49-F238E27FC236}">
                  <a16:creationId xmlns:a16="http://schemas.microsoft.com/office/drawing/2014/main" id="{721024E4-0E57-451D-A267-1BF5D42506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3" name="Oval 283">
              <a:extLst>
                <a:ext uri="{FF2B5EF4-FFF2-40B4-BE49-F238E27FC236}">
                  <a16:creationId xmlns:a16="http://schemas.microsoft.com/office/drawing/2014/main" id="{2330164B-4587-4D58-9A67-3CF09BA838A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DCB82626-3A2F-44ED-80C3-80852EBBE13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775512" cy="6858000"/>
          </a:xfrm>
          <a:custGeom>
            <a:avLst/>
            <a:gdLst>
              <a:gd name="connsiteX0" fmla="*/ 3388757 w 6775512"/>
              <a:gd name="connsiteY0" fmla="*/ 1961327 h 6858000"/>
              <a:gd name="connsiteX1" fmla="*/ 3388583 w 6775512"/>
              <a:gd name="connsiteY1" fmla="*/ 1963628 h 6858000"/>
              <a:gd name="connsiteX2" fmla="*/ 3117183 w 6775512"/>
              <a:gd name="connsiteY2" fmla="*/ 2656893 h 6858000"/>
              <a:gd name="connsiteX3" fmla="*/ 3039302 w 6775512"/>
              <a:gd name="connsiteY3" fmla="*/ 2761042 h 6858000"/>
              <a:gd name="connsiteX4" fmla="*/ 3117006 w 6775512"/>
              <a:gd name="connsiteY4" fmla="*/ 2718865 h 6858000"/>
              <a:gd name="connsiteX5" fmla="*/ 3408218 w 6775512"/>
              <a:gd name="connsiteY5" fmla="*/ 2660072 h 6858000"/>
              <a:gd name="connsiteX6" fmla="*/ 3699430 w 6775512"/>
              <a:gd name="connsiteY6" fmla="*/ 2718865 h 6858000"/>
              <a:gd name="connsiteX7" fmla="*/ 3708252 w 6775512"/>
              <a:gd name="connsiteY7" fmla="*/ 2723653 h 6858000"/>
              <a:gd name="connsiteX8" fmla="*/ 3658329 w 6775512"/>
              <a:gd name="connsiteY8" fmla="*/ 2656893 h 6858000"/>
              <a:gd name="connsiteX9" fmla="*/ 3401916 w 6775512"/>
              <a:gd name="connsiteY9" fmla="*/ 2047546 h 6858000"/>
              <a:gd name="connsiteX10" fmla="*/ 1704109 w 6775512"/>
              <a:gd name="connsiteY10" fmla="*/ 0 h 6858000"/>
              <a:gd name="connsiteX11" fmla="*/ 3373597 w 6775512"/>
              <a:gd name="connsiteY11" fmla="*/ 1360672 h 6858000"/>
              <a:gd name="connsiteX12" fmla="*/ 3387756 w 6775512"/>
              <a:gd name="connsiteY12" fmla="*/ 1453449 h 6858000"/>
              <a:gd name="connsiteX13" fmla="*/ 3401916 w 6775512"/>
              <a:gd name="connsiteY13" fmla="*/ 1360672 h 6858000"/>
              <a:gd name="connsiteX14" fmla="*/ 5071403 w 6775512"/>
              <a:gd name="connsiteY14" fmla="*/ 0 h 6858000"/>
              <a:gd name="connsiteX15" fmla="*/ 6775512 w 6775512"/>
              <a:gd name="connsiteY15" fmla="*/ 1704109 h 6858000"/>
              <a:gd name="connsiteX16" fmla="*/ 5071403 w 6775512"/>
              <a:gd name="connsiteY16" fmla="*/ 3408218 h 6858000"/>
              <a:gd name="connsiteX17" fmla="*/ 4118620 w 6775512"/>
              <a:gd name="connsiteY17" fmla="*/ 3117183 h 6858000"/>
              <a:gd name="connsiteX18" fmla="*/ 4083353 w 6775512"/>
              <a:gd name="connsiteY18" fmla="*/ 3090811 h 6858000"/>
              <a:gd name="connsiteX19" fmla="*/ 4097571 w 6775512"/>
              <a:gd name="connsiteY19" fmla="*/ 3117006 h 6858000"/>
              <a:gd name="connsiteX20" fmla="*/ 4156364 w 6775512"/>
              <a:gd name="connsiteY20" fmla="*/ 3408218 h 6858000"/>
              <a:gd name="connsiteX21" fmla="*/ 4097571 w 6775512"/>
              <a:gd name="connsiteY21" fmla="*/ 3699431 h 6858000"/>
              <a:gd name="connsiteX22" fmla="*/ 4073339 w 6775512"/>
              <a:gd name="connsiteY22" fmla="*/ 3744076 h 6858000"/>
              <a:gd name="connsiteX23" fmla="*/ 4077696 w 6775512"/>
              <a:gd name="connsiteY23" fmla="*/ 3740817 h 6858000"/>
              <a:gd name="connsiteX24" fmla="*/ 5030479 w 6775512"/>
              <a:gd name="connsiteY24" fmla="*/ 3449782 h 6858000"/>
              <a:gd name="connsiteX25" fmla="*/ 6734588 w 6775512"/>
              <a:gd name="connsiteY25" fmla="*/ 5153891 h 6858000"/>
              <a:gd name="connsiteX26" fmla="*/ 5030479 w 6775512"/>
              <a:gd name="connsiteY26" fmla="*/ 6858000 h 6858000"/>
              <a:gd name="connsiteX27" fmla="*/ 3360992 w 6775512"/>
              <a:gd name="connsiteY27" fmla="*/ 5497328 h 6858000"/>
              <a:gd name="connsiteX28" fmla="*/ 3346832 w 6775512"/>
              <a:gd name="connsiteY28" fmla="*/ 5404551 h 6858000"/>
              <a:gd name="connsiteX29" fmla="*/ 3332673 w 6775512"/>
              <a:gd name="connsiteY29" fmla="*/ 5497328 h 6858000"/>
              <a:gd name="connsiteX30" fmla="*/ 1663185 w 6775512"/>
              <a:gd name="connsiteY30" fmla="*/ 6858000 h 6858000"/>
              <a:gd name="connsiteX31" fmla="*/ 35690 w 6775512"/>
              <a:gd name="connsiteY31" fmla="*/ 5660641 h 6858000"/>
              <a:gd name="connsiteX32" fmla="*/ 0 w 6775512"/>
              <a:gd name="connsiteY32" fmla="*/ 5521840 h 6858000"/>
              <a:gd name="connsiteX33" fmla="*/ 0 w 6775512"/>
              <a:gd name="connsiteY33" fmla="*/ 4785943 h 6858000"/>
              <a:gd name="connsiteX34" fmla="*/ 35690 w 6775512"/>
              <a:gd name="connsiteY34" fmla="*/ 4647141 h 6858000"/>
              <a:gd name="connsiteX35" fmla="*/ 1663185 w 6775512"/>
              <a:gd name="connsiteY35" fmla="*/ 3449782 h 6858000"/>
              <a:gd name="connsiteX36" fmla="*/ 3332673 w 6775512"/>
              <a:gd name="connsiteY36" fmla="*/ 4810454 h 6858000"/>
              <a:gd name="connsiteX37" fmla="*/ 3346832 w 6775512"/>
              <a:gd name="connsiteY37" fmla="*/ 4903231 h 6858000"/>
              <a:gd name="connsiteX38" fmla="*/ 3360992 w 6775512"/>
              <a:gd name="connsiteY38" fmla="*/ 4810454 h 6858000"/>
              <a:gd name="connsiteX39" fmla="*/ 3617405 w 6775512"/>
              <a:gd name="connsiteY39" fmla="*/ 4201108 h 6858000"/>
              <a:gd name="connsiteX40" fmla="*/ 3693437 w 6775512"/>
              <a:gd name="connsiteY40" fmla="*/ 4099432 h 6858000"/>
              <a:gd name="connsiteX41" fmla="*/ 3558996 w 6775512"/>
              <a:gd name="connsiteY41" fmla="*/ 4141165 h 6858000"/>
              <a:gd name="connsiteX42" fmla="*/ 3408218 w 6775512"/>
              <a:gd name="connsiteY42" fmla="*/ 4156364 h 6858000"/>
              <a:gd name="connsiteX43" fmla="*/ 2660073 w 6775512"/>
              <a:gd name="connsiteY43" fmla="*/ 3408218 h 6858000"/>
              <a:gd name="connsiteX44" fmla="*/ 2718865 w 6775512"/>
              <a:gd name="connsiteY44" fmla="*/ 3117006 h 6858000"/>
              <a:gd name="connsiteX45" fmla="*/ 2761042 w 6775512"/>
              <a:gd name="connsiteY45" fmla="*/ 3039302 h 6858000"/>
              <a:gd name="connsiteX46" fmla="*/ 2656892 w 6775512"/>
              <a:gd name="connsiteY46" fmla="*/ 3117183 h 6858000"/>
              <a:gd name="connsiteX47" fmla="*/ 1704109 w 6775512"/>
              <a:gd name="connsiteY47" fmla="*/ 3408218 h 6858000"/>
              <a:gd name="connsiteX48" fmla="*/ 0 w 6775512"/>
              <a:gd name="connsiteY48" fmla="*/ 1704109 h 6858000"/>
              <a:gd name="connsiteX49" fmla="*/ 1704109 w 6775512"/>
              <a:gd name="connsiteY4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6775512" h="6858000">
                <a:moveTo>
                  <a:pt x="3388757" y="1961327"/>
                </a:moveTo>
                <a:lnTo>
                  <a:pt x="3388583" y="1963628"/>
                </a:lnTo>
                <a:cubicBezTo>
                  <a:pt x="3349795" y="2217485"/>
                  <a:pt x="3254992" y="2452910"/>
                  <a:pt x="3117183" y="2656893"/>
                </a:cubicBezTo>
                <a:lnTo>
                  <a:pt x="3039302" y="2761042"/>
                </a:lnTo>
                <a:lnTo>
                  <a:pt x="3117006" y="2718865"/>
                </a:lnTo>
                <a:cubicBezTo>
                  <a:pt x="3206513" y="2681007"/>
                  <a:pt x="3304921" y="2660072"/>
                  <a:pt x="3408218" y="2660072"/>
                </a:cubicBezTo>
                <a:cubicBezTo>
                  <a:pt x="3511516" y="2660072"/>
                  <a:pt x="3609924" y="2681007"/>
                  <a:pt x="3699430" y="2718865"/>
                </a:cubicBezTo>
                <a:lnTo>
                  <a:pt x="3708252" y="2723653"/>
                </a:lnTo>
                <a:lnTo>
                  <a:pt x="3658329" y="2656893"/>
                </a:lnTo>
                <a:cubicBezTo>
                  <a:pt x="3535833" y="2475574"/>
                  <a:pt x="3447316" y="2269413"/>
                  <a:pt x="3401916" y="2047546"/>
                </a:cubicBezTo>
                <a:close/>
                <a:moveTo>
                  <a:pt x="1704109" y="0"/>
                </a:moveTo>
                <a:cubicBezTo>
                  <a:pt x="2527618" y="0"/>
                  <a:pt x="3214695" y="584138"/>
                  <a:pt x="3373597" y="1360672"/>
                </a:cubicBezTo>
                <a:lnTo>
                  <a:pt x="3387756" y="1453449"/>
                </a:lnTo>
                <a:lnTo>
                  <a:pt x="3401916" y="1360672"/>
                </a:lnTo>
                <a:cubicBezTo>
                  <a:pt x="3560818" y="584138"/>
                  <a:pt x="4247894" y="0"/>
                  <a:pt x="5071403" y="0"/>
                </a:cubicBezTo>
                <a:cubicBezTo>
                  <a:pt x="6012556" y="0"/>
                  <a:pt x="6775512" y="762956"/>
                  <a:pt x="6775512" y="1704109"/>
                </a:cubicBezTo>
                <a:cubicBezTo>
                  <a:pt x="6775512" y="2645262"/>
                  <a:pt x="6012556" y="3408218"/>
                  <a:pt x="5071403" y="3408218"/>
                </a:cubicBezTo>
                <a:cubicBezTo>
                  <a:pt x="4718471" y="3408218"/>
                  <a:pt x="4390597" y="3300927"/>
                  <a:pt x="4118620" y="3117183"/>
                </a:cubicBezTo>
                <a:lnTo>
                  <a:pt x="4083353" y="3090811"/>
                </a:lnTo>
                <a:lnTo>
                  <a:pt x="4097571" y="3117006"/>
                </a:lnTo>
                <a:cubicBezTo>
                  <a:pt x="4135429" y="3206513"/>
                  <a:pt x="4156364" y="3304921"/>
                  <a:pt x="4156364" y="3408218"/>
                </a:cubicBezTo>
                <a:cubicBezTo>
                  <a:pt x="4156364" y="3511516"/>
                  <a:pt x="4135429" y="3609924"/>
                  <a:pt x="4097571" y="3699431"/>
                </a:cubicBezTo>
                <a:lnTo>
                  <a:pt x="4073339" y="3744076"/>
                </a:lnTo>
                <a:lnTo>
                  <a:pt x="4077696" y="3740817"/>
                </a:lnTo>
                <a:cubicBezTo>
                  <a:pt x="4349673" y="3557073"/>
                  <a:pt x="4677547" y="3449782"/>
                  <a:pt x="5030479" y="3449782"/>
                </a:cubicBezTo>
                <a:cubicBezTo>
                  <a:pt x="5971632" y="3449782"/>
                  <a:pt x="6734588" y="4212738"/>
                  <a:pt x="6734588" y="5153891"/>
                </a:cubicBezTo>
                <a:cubicBezTo>
                  <a:pt x="6734588" y="6095044"/>
                  <a:pt x="5971632" y="6858000"/>
                  <a:pt x="5030479" y="6858000"/>
                </a:cubicBezTo>
                <a:cubicBezTo>
                  <a:pt x="4206970" y="6858000"/>
                  <a:pt x="3519894" y="6273862"/>
                  <a:pt x="3360992" y="5497328"/>
                </a:cubicBezTo>
                <a:lnTo>
                  <a:pt x="3346832" y="5404551"/>
                </a:lnTo>
                <a:lnTo>
                  <a:pt x="3332673" y="5497328"/>
                </a:lnTo>
                <a:cubicBezTo>
                  <a:pt x="3173771" y="6273862"/>
                  <a:pt x="2486694" y="6858000"/>
                  <a:pt x="1663185" y="6858000"/>
                </a:cubicBezTo>
                <a:cubicBezTo>
                  <a:pt x="898498" y="6858000"/>
                  <a:pt x="251449" y="6354330"/>
                  <a:pt x="35690" y="5660641"/>
                </a:cubicBezTo>
                <a:lnTo>
                  <a:pt x="0" y="5521840"/>
                </a:lnTo>
                <a:lnTo>
                  <a:pt x="0" y="4785943"/>
                </a:lnTo>
                <a:lnTo>
                  <a:pt x="35690" y="4647141"/>
                </a:lnTo>
                <a:cubicBezTo>
                  <a:pt x="251449" y="3953452"/>
                  <a:pt x="898498" y="3449782"/>
                  <a:pt x="1663185" y="3449782"/>
                </a:cubicBezTo>
                <a:cubicBezTo>
                  <a:pt x="2486694" y="3449782"/>
                  <a:pt x="3173771" y="4033920"/>
                  <a:pt x="3332673" y="4810454"/>
                </a:cubicBezTo>
                <a:lnTo>
                  <a:pt x="3346832" y="4903231"/>
                </a:lnTo>
                <a:lnTo>
                  <a:pt x="3360992" y="4810454"/>
                </a:lnTo>
                <a:cubicBezTo>
                  <a:pt x="3406392" y="4588587"/>
                  <a:pt x="3494909" y="4382426"/>
                  <a:pt x="3617405" y="4201108"/>
                </a:cubicBezTo>
                <a:lnTo>
                  <a:pt x="3693437" y="4099432"/>
                </a:lnTo>
                <a:lnTo>
                  <a:pt x="3558996" y="4141165"/>
                </a:lnTo>
                <a:cubicBezTo>
                  <a:pt x="3510293" y="4151130"/>
                  <a:pt x="3459867" y="4156364"/>
                  <a:pt x="3408218" y="4156364"/>
                </a:cubicBezTo>
                <a:cubicBezTo>
                  <a:pt x="2995029" y="4156364"/>
                  <a:pt x="2660073" y="3821408"/>
                  <a:pt x="2660073" y="3408218"/>
                </a:cubicBezTo>
                <a:cubicBezTo>
                  <a:pt x="2660073" y="3304921"/>
                  <a:pt x="2681007" y="3206513"/>
                  <a:pt x="2718865" y="3117006"/>
                </a:cubicBezTo>
                <a:lnTo>
                  <a:pt x="2761042" y="3039302"/>
                </a:lnTo>
                <a:lnTo>
                  <a:pt x="2656892" y="3117183"/>
                </a:lnTo>
                <a:cubicBezTo>
                  <a:pt x="2384915" y="3300927"/>
                  <a:pt x="2057042" y="3408218"/>
                  <a:pt x="1704109" y="3408218"/>
                </a:cubicBezTo>
                <a:cubicBezTo>
                  <a:pt x="762956" y="3408218"/>
                  <a:pt x="0" y="2645262"/>
                  <a:pt x="0" y="1704109"/>
                </a:cubicBezTo>
                <a:cubicBezTo>
                  <a:pt x="0" y="762956"/>
                  <a:pt x="762956" y="0"/>
                  <a:pt x="1704109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1A62BE8A-DD6F-40D8-B194-7445F2934CE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07169" y="1566992"/>
            <a:ext cx="4401773" cy="1847850"/>
          </a:xfrm>
        </p:spPr>
        <p:txBody>
          <a:bodyPr>
            <a:normAutofit/>
          </a:bodyPr>
          <a:lstStyle>
            <a:lvl1pPr marL="0" indent="0">
              <a:buNone/>
              <a:defRPr sz="2800" u="none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61002802-5CC6-411F-915C-507F99B832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7169" y="3414842"/>
            <a:ext cx="4381909" cy="185057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25193079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6FC6974F-11F1-46CE-82DD-139D25F0A94E}"/>
              </a:ext>
            </a:extLst>
          </p:cNvPr>
          <p:cNvGrpSpPr/>
          <p:nvPr userDrawn="1"/>
        </p:nvGrpSpPr>
        <p:grpSpPr>
          <a:xfrm>
            <a:off x="6849235" y="1967309"/>
            <a:ext cx="3485272" cy="3211966"/>
            <a:chOff x="1438275" y="2505075"/>
            <a:chExt cx="2206625" cy="2033588"/>
          </a:xfrm>
          <a:solidFill>
            <a:srgbClr val="00B0F0"/>
          </a:solidFill>
        </p:grpSpPr>
        <p:sp>
          <p:nvSpPr>
            <p:cNvPr id="13" name="Oval 177">
              <a:extLst>
                <a:ext uri="{FF2B5EF4-FFF2-40B4-BE49-F238E27FC236}">
                  <a16:creationId xmlns:a16="http://schemas.microsoft.com/office/drawing/2014/main" id="{A73DE0C1-B278-4019-8831-5167CD6C58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Oval 178">
              <a:extLst>
                <a:ext uri="{FF2B5EF4-FFF2-40B4-BE49-F238E27FC236}">
                  <a16:creationId xmlns:a16="http://schemas.microsoft.com/office/drawing/2014/main" id="{E8E6A67D-C7A7-41B2-ABB0-4991AA3C96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Oval 179">
              <a:extLst>
                <a:ext uri="{FF2B5EF4-FFF2-40B4-BE49-F238E27FC236}">
                  <a16:creationId xmlns:a16="http://schemas.microsoft.com/office/drawing/2014/main" id="{8F163114-151E-4AFE-AC29-BC7075C34A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Oval 180">
              <a:extLst>
                <a:ext uri="{FF2B5EF4-FFF2-40B4-BE49-F238E27FC236}">
                  <a16:creationId xmlns:a16="http://schemas.microsoft.com/office/drawing/2014/main" id="{8FFD00FE-F389-4C98-89E7-008F3A96E2E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Oval 181">
              <a:extLst>
                <a:ext uri="{FF2B5EF4-FFF2-40B4-BE49-F238E27FC236}">
                  <a16:creationId xmlns:a16="http://schemas.microsoft.com/office/drawing/2014/main" id="{8D6E2F9B-5EF7-401F-977C-F7DA0B3038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Oval 182">
              <a:extLst>
                <a:ext uri="{FF2B5EF4-FFF2-40B4-BE49-F238E27FC236}">
                  <a16:creationId xmlns:a16="http://schemas.microsoft.com/office/drawing/2014/main" id="{36B24002-7803-4CEA-AE2B-B61292F11E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183">
              <a:extLst>
                <a:ext uri="{FF2B5EF4-FFF2-40B4-BE49-F238E27FC236}">
                  <a16:creationId xmlns:a16="http://schemas.microsoft.com/office/drawing/2014/main" id="{C8ECCA24-5179-4543-B251-A3EB68A047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Oval 184">
              <a:extLst>
                <a:ext uri="{FF2B5EF4-FFF2-40B4-BE49-F238E27FC236}">
                  <a16:creationId xmlns:a16="http://schemas.microsoft.com/office/drawing/2014/main" id="{35E83284-E132-4B39-B88C-C06A1AD307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185">
              <a:extLst>
                <a:ext uri="{FF2B5EF4-FFF2-40B4-BE49-F238E27FC236}">
                  <a16:creationId xmlns:a16="http://schemas.microsoft.com/office/drawing/2014/main" id="{5211E6CC-9B69-4D9D-BF2A-81F0E0230A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186">
              <a:extLst>
                <a:ext uri="{FF2B5EF4-FFF2-40B4-BE49-F238E27FC236}">
                  <a16:creationId xmlns:a16="http://schemas.microsoft.com/office/drawing/2014/main" id="{2DB9EA33-2340-4CF3-8CA2-0701D7E84C7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187">
              <a:extLst>
                <a:ext uri="{FF2B5EF4-FFF2-40B4-BE49-F238E27FC236}">
                  <a16:creationId xmlns:a16="http://schemas.microsoft.com/office/drawing/2014/main" id="{01AABECA-4B08-4EDB-9F30-CBD6B8114C8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42592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188">
              <a:extLst>
                <a:ext uri="{FF2B5EF4-FFF2-40B4-BE49-F238E27FC236}">
                  <a16:creationId xmlns:a16="http://schemas.microsoft.com/office/drawing/2014/main" id="{EBA1CED1-FE21-4701-A922-DB82EC70D0E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408463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189">
              <a:extLst>
                <a:ext uri="{FF2B5EF4-FFF2-40B4-BE49-F238E27FC236}">
                  <a16:creationId xmlns:a16="http://schemas.microsoft.com/office/drawing/2014/main" id="{43BA5A07-7B0E-4765-B004-9E975872A2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Oval 190">
              <a:extLst>
                <a:ext uri="{FF2B5EF4-FFF2-40B4-BE49-F238E27FC236}">
                  <a16:creationId xmlns:a16="http://schemas.microsoft.com/office/drawing/2014/main" id="{243FAE3E-3950-4768-91D0-9CDD15C56F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191">
              <a:extLst>
                <a:ext uri="{FF2B5EF4-FFF2-40B4-BE49-F238E27FC236}">
                  <a16:creationId xmlns:a16="http://schemas.microsoft.com/office/drawing/2014/main" id="{D63754AC-7A6C-41DD-B962-4E0AFDBC70D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192">
              <a:extLst>
                <a:ext uri="{FF2B5EF4-FFF2-40B4-BE49-F238E27FC236}">
                  <a16:creationId xmlns:a16="http://schemas.microsoft.com/office/drawing/2014/main" id="{8A46048C-BD68-41A9-8361-F515603368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193">
              <a:extLst>
                <a:ext uri="{FF2B5EF4-FFF2-40B4-BE49-F238E27FC236}">
                  <a16:creationId xmlns:a16="http://schemas.microsoft.com/office/drawing/2014/main" id="{A6E4081F-B4DD-48E8-829D-CA86AF8528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194">
              <a:extLst>
                <a:ext uri="{FF2B5EF4-FFF2-40B4-BE49-F238E27FC236}">
                  <a16:creationId xmlns:a16="http://schemas.microsoft.com/office/drawing/2014/main" id="{03CA65CB-0CA9-4B4F-9830-E9D16A48AA7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195">
              <a:extLst>
                <a:ext uri="{FF2B5EF4-FFF2-40B4-BE49-F238E27FC236}">
                  <a16:creationId xmlns:a16="http://schemas.microsoft.com/office/drawing/2014/main" id="{F852C9E0-298B-4124-9593-AB28C90B00F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408463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196">
              <a:extLst>
                <a:ext uri="{FF2B5EF4-FFF2-40B4-BE49-F238E27FC236}">
                  <a16:creationId xmlns:a16="http://schemas.microsoft.com/office/drawing/2014/main" id="{312B1E56-0C82-4555-901E-06716DF02EC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197">
              <a:extLst>
                <a:ext uri="{FF2B5EF4-FFF2-40B4-BE49-F238E27FC236}">
                  <a16:creationId xmlns:a16="http://schemas.microsoft.com/office/drawing/2014/main" id="{349799FB-6715-4BEE-9AC1-CB3CF0D0E82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198">
              <a:extLst>
                <a:ext uri="{FF2B5EF4-FFF2-40B4-BE49-F238E27FC236}">
                  <a16:creationId xmlns:a16="http://schemas.microsoft.com/office/drawing/2014/main" id="{D84F968F-5C87-4FED-9F95-CD19EB10602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9084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199">
              <a:extLst>
                <a:ext uri="{FF2B5EF4-FFF2-40B4-BE49-F238E27FC236}">
                  <a16:creationId xmlns:a16="http://schemas.microsoft.com/office/drawing/2014/main" id="{3BDFD4A9-DD23-4AC0-841F-A325E7495A7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200">
              <a:extLst>
                <a:ext uri="{FF2B5EF4-FFF2-40B4-BE49-F238E27FC236}">
                  <a16:creationId xmlns:a16="http://schemas.microsoft.com/office/drawing/2014/main" id="{56798B4E-165C-4BFE-A0C0-4F995C8A2E2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201">
              <a:extLst>
                <a:ext uri="{FF2B5EF4-FFF2-40B4-BE49-F238E27FC236}">
                  <a16:creationId xmlns:a16="http://schemas.microsoft.com/office/drawing/2014/main" id="{9B64546A-E447-4CA6-84D0-EA67C9FE42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202">
              <a:extLst>
                <a:ext uri="{FF2B5EF4-FFF2-40B4-BE49-F238E27FC236}">
                  <a16:creationId xmlns:a16="http://schemas.microsoft.com/office/drawing/2014/main" id="{7F130C49-D89B-493F-8857-D0665A755E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203">
              <a:extLst>
                <a:ext uri="{FF2B5EF4-FFF2-40B4-BE49-F238E27FC236}">
                  <a16:creationId xmlns:a16="http://schemas.microsoft.com/office/drawing/2014/main" id="{26A03BE2-241F-4E60-9C86-2EB2477FFB2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204">
              <a:extLst>
                <a:ext uri="{FF2B5EF4-FFF2-40B4-BE49-F238E27FC236}">
                  <a16:creationId xmlns:a16="http://schemas.microsoft.com/office/drawing/2014/main" id="{61FD9D5A-A730-43AD-91C2-F93BDB2089F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205">
              <a:extLst>
                <a:ext uri="{FF2B5EF4-FFF2-40B4-BE49-F238E27FC236}">
                  <a16:creationId xmlns:a16="http://schemas.microsoft.com/office/drawing/2014/main" id="{ADBB6143-1BBD-4F06-81EE-53AB3CA20A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9084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206">
              <a:extLst>
                <a:ext uri="{FF2B5EF4-FFF2-40B4-BE49-F238E27FC236}">
                  <a16:creationId xmlns:a16="http://schemas.microsoft.com/office/drawing/2014/main" id="{390EAF8A-506C-4B7B-9EDD-0DA0967BEBD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Oval 207">
              <a:extLst>
                <a:ext uri="{FF2B5EF4-FFF2-40B4-BE49-F238E27FC236}">
                  <a16:creationId xmlns:a16="http://schemas.microsoft.com/office/drawing/2014/main" id="{FED57841-6843-46E2-A1FA-4CD692202AC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Oval 208">
              <a:extLst>
                <a:ext uri="{FF2B5EF4-FFF2-40B4-BE49-F238E27FC236}">
                  <a16:creationId xmlns:a16="http://schemas.microsoft.com/office/drawing/2014/main" id="{636F1594-212A-43A7-8286-9443235E08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Oval 209">
              <a:extLst>
                <a:ext uri="{FF2B5EF4-FFF2-40B4-BE49-F238E27FC236}">
                  <a16:creationId xmlns:a16="http://schemas.microsoft.com/office/drawing/2014/main" id="{6CE5A537-4218-4CEF-9BF1-97F5D8D98DD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73380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Oval 210">
              <a:extLst>
                <a:ext uri="{FF2B5EF4-FFF2-40B4-BE49-F238E27FC236}">
                  <a16:creationId xmlns:a16="http://schemas.microsoft.com/office/drawing/2014/main" id="{E01AFE8F-D613-4BBC-BE91-5836AA0545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Oval 211">
              <a:extLst>
                <a:ext uri="{FF2B5EF4-FFF2-40B4-BE49-F238E27FC236}">
                  <a16:creationId xmlns:a16="http://schemas.microsoft.com/office/drawing/2014/main" id="{9670B9E3-19F4-49C6-A2FC-D0C48D9F82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Oval 212">
              <a:extLst>
                <a:ext uri="{FF2B5EF4-FFF2-40B4-BE49-F238E27FC236}">
                  <a16:creationId xmlns:a16="http://schemas.microsoft.com/office/drawing/2014/main" id="{D052BDBE-DF9A-4B85-A8ED-E86F7CE3631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Oval 213">
              <a:extLst>
                <a:ext uri="{FF2B5EF4-FFF2-40B4-BE49-F238E27FC236}">
                  <a16:creationId xmlns:a16="http://schemas.microsoft.com/office/drawing/2014/main" id="{185E0864-6BAA-4F2D-83DC-9784AE5522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Oval 214">
              <a:extLst>
                <a:ext uri="{FF2B5EF4-FFF2-40B4-BE49-F238E27FC236}">
                  <a16:creationId xmlns:a16="http://schemas.microsoft.com/office/drawing/2014/main" id="{595193F9-8C32-467F-8498-A8E4C119D1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Oval 215">
              <a:extLst>
                <a:ext uri="{FF2B5EF4-FFF2-40B4-BE49-F238E27FC236}">
                  <a16:creationId xmlns:a16="http://schemas.microsoft.com/office/drawing/2014/main" id="{6F30F57D-916C-4EB0-9C05-0E80A48E546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Oval 216">
              <a:extLst>
                <a:ext uri="{FF2B5EF4-FFF2-40B4-BE49-F238E27FC236}">
                  <a16:creationId xmlns:a16="http://schemas.microsoft.com/office/drawing/2014/main" id="{91485D70-364E-436D-9A3F-D3B2149B522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73380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Oval 217">
              <a:extLst>
                <a:ext uri="{FF2B5EF4-FFF2-40B4-BE49-F238E27FC236}">
                  <a16:creationId xmlns:a16="http://schemas.microsoft.com/office/drawing/2014/main" id="{27723073-F285-487E-8F8E-A906C07164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Oval 218">
              <a:extLst>
                <a:ext uri="{FF2B5EF4-FFF2-40B4-BE49-F238E27FC236}">
                  <a16:creationId xmlns:a16="http://schemas.microsoft.com/office/drawing/2014/main" id="{14A84BBA-367D-42E1-8469-B6854DB14F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Oval 219">
              <a:extLst>
                <a:ext uri="{FF2B5EF4-FFF2-40B4-BE49-F238E27FC236}">
                  <a16:creationId xmlns:a16="http://schemas.microsoft.com/office/drawing/2014/main" id="{32AA15B4-C4FC-4A2A-938C-EDA375E3E3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Oval 220">
              <a:extLst>
                <a:ext uri="{FF2B5EF4-FFF2-40B4-BE49-F238E27FC236}">
                  <a16:creationId xmlns:a16="http://schemas.microsoft.com/office/drawing/2014/main" id="{30C318D4-8C88-4C3B-9AEC-767062C58CB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5575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Oval 221">
              <a:extLst>
                <a:ext uri="{FF2B5EF4-FFF2-40B4-BE49-F238E27FC236}">
                  <a16:creationId xmlns:a16="http://schemas.microsoft.com/office/drawing/2014/main" id="{6C7DC594-EF98-40F6-B149-43F27EAF65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Oval 222">
              <a:extLst>
                <a:ext uri="{FF2B5EF4-FFF2-40B4-BE49-F238E27FC236}">
                  <a16:creationId xmlns:a16="http://schemas.microsoft.com/office/drawing/2014/main" id="{C543D3E6-B8C1-40A1-8DB6-6A86F51A5B2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Oval 223">
              <a:extLst>
                <a:ext uri="{FF2B5EF4-FFF2-40B4-BE49-F238E27FC236}">
                  <a16:creationId xmlns:a16="http://schemas.microsoft.com/office/drawing/2014/main" id="{71C34D93-8A85-42A2-B8E3-7843D776E6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Oval 224">
              <a:extLst>
                <a:ext uri="{FF2B5EF4-FFF2-40B4-BE49-F238E27FC236}">
                  <a16:creationId xmlns:a16="http://schemas.microsoft.com/office/drawing/2014/main" id="{39A6E448-6E1E-4BB8-8D92-7B8215E069C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Oval 225">
              <a:extLst>
                <a:ext uri="{FF2B5EF4-FFF2-40B4-BE49-F238E27FC236}">
                  <a16:creationId xmlns:a16="http://schemas.microsoft.com/office/drawing/2014/main" id="{AA3E3843-9407-4410-B6F4-0121B23EB3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Oval 226">
              <a:extLst>
                <a:ext uri="{FF2B5EF4-FFF2-40B4-BE49-F238E27FC236}">
                  <a16:creationId xmlns:a16="http://schemas.microsoft.com/office/drawing/2014/main" id="{6EEEE1C2-BDD9-4218-BDA1-DF4674C7529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Oval 227">
              <a:extLst>
                <a:ext uri="{FF2B5EF4-FFF2-40B4-BE49-F238E27FC236}">
                  <a16:creationId xmlns:a16="http://schemas.microsoft.com/office/drawing/2014/main" id="{189A205D-27F4-466A-8A95-EFF9DFB59E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5575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228">
              <a:extLst>
                <a:ext uri="{FF2B5EF4-FFF2-40B4-BE49-F238E27FC236}">
                  <a16:creationId xmlns:a16="http://schemas.microsoft.com/office/drawing/2014/main" id="{2DFF115C-D670-4D2C-9E15-7D396571BC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Oval 229">
              <a:extLst>
                <a:ext uri="{FF2B5EF4-FFF2-40B4-BE49-F238E27FC236}">
                  <a16:creationId xmlns:a16="http://schemas.microsoft.com/office/drawing/2014/main" id="{667E2422-C2E2-4468-94F6-67D060616E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Oval 230">
              <a:extLst>
                <a:ext uri="{FF2B5EF4-FFF2-40B4-BE49-F238E27FC236}">
                  <a16:creationId xmlns:a16="http://schemas.microsoft.com/office/drawing/2014/main" id="{D0CFBC00-5753-4A72-B600-74D399AAF2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4382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Oval 231">
              <a:extLst>
                <a:ext uri="{FF2B5EF4-FFF2-40B4-BE49-F238E27FC236}">
                  <a16:creationId xmlns:a16="http://schemas.microsoft.com/office/drawing/2014/main" id="{DE25883E-16ED-4943-BC76-C0C13F7D25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Oval 232">
              <a:extLst>
                <a:ext uri="{FF2B5EF4-FFF2-40B4-BE49-F238E27FC236}">
                  <a16:creationId xmlns:a16="http://schemas.microsoft.com/office/drawing/2014/main" id="{C51A6BAA-4C38-4296-A234-24F7307F5D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3829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233">
              <a:extLst>
                <a:ext uri="{FF2B5EF4-FFF2-40B4-BE49-F238E27FC236}">
                  <a16:creationId xmlns:a16="http://schemas.microsoft.com/office/drawing/2014/main" id="{8AF52AA6-7623-476E-AC06-CFF60B96E6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234">
              <a:extLst>
                <a:ext uri="{FF2B5EF4-FFF2-40B4-BE49-F238E27FC236}">
                  <a16:creationId xmlns:a16="http://schemas.microsoft.com/office/drawing/2014/main" id="{89DEB943-3EBB-4EAB-BA6F-EA9ACEA1A5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235">
              <a:extLst>
                <a:ext uri="{FF2B5EF4-FFF2-40B4-BE49-F238E27FC236}">
                  <a16:creationId xmlns:a16="http://schemas.microsoft.com/office/drawing/2014/main" id="{F404E4A5-8616-4FB5-8D09-A8A9B5E9CA3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236">
              <a:extLst>
                <a:ext uri="{FF2B5EF4-FFF2-40B4-BE49-F238E27FC236}">
                  <a16:creationId xmlns:a16="http://schemas.microsoft.com/office/drawing/2014/main" id="{FB5CE3A4-ED4E-4EE1-A445-D3AC36990F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Oval 237">
              <a:extLst>
                <a:ext uri="{FF2B5EF4-FFF2-40B4-BE49-F238E27FC236}">
                  <a16:creationId xmlns:a16="http://schemas.microsoft.com/office/drawing/2014/main" id="{898A8288-8E2B-40D9-8F94-93A7BE1827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Oval 238">
              <a:extLst>
                <a:ext uri="{FF2B5EF4-FFF2-40B4-BE49-F238E27FC236}">
                  <a16:creationId xmlns:a16="http://schemas.microsoft.com/office/drawing/2014/main" id="{1803AA70-1AE6-4361-8271-9487457AE8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Oval 239">
              <a:extLst>
                <a:ext uri="{FF2B5EF4-FFF2-40B4-BE49-F238E27FC236}">
                  <a16:creationId xmlns:a16="http://schemas.microsoft.com/office/drawing/2014/main" id="{3044F790-C58D-4A8A-8047-5A651C489BB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3829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Oval 240">
              <a:extLst>
                <a:ext uri="{FF2B5EF4-FFF2-40B4-BE49-F238E27FC236}">
                  <a16:creationId xmlns:a16="http://schemas.microsoft.com/office/drawing/2014/main" id="{8BAAF260-0BAD-4736-ACA8-173DCE21B9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Oval 241">
              <a:extLst>
                <a:ext uri="{FF2B5EF4-FFF2-40B4-BE49-F238E27FC236}">
                  <a16:creationId xmlns:a16="http://schemas.microsoft.com/office/drawing/2014/main" id="{338B040D-0D23-431E-B9D4-2CF93BE5ADF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Oval 242">
              <a:extLst>
                <a:ext uri="{FF2B5EF4-FFF2-40B4-BE49-F238E27FC236}">
                  <a16:creationId xmlns:a16="http://schemas.microsoft.com/office/drawing/2014/main" id="{B8E99CC4-EA6D-4B96-AF4A-457DE9E678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54171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Oval 243">
              <a:extLst>
                <a:ext uri="{FF2B5EF4-FFF2-40B4-BE49-F238E27FC236}">
                  <a16:creationId xmlns:a16="http://schemas.microsoft.com/office/drawing/2014/main" id="{A87B4FE2-9954-466E-BA4A-337FBF45EA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Oval 244">
              <a:extLst>
                <a:ext uri="{FF2B5EF4-FFF2-40B4-BE49-F238E27FC236}">
                  <a16:creationId xmlns:a16="http://schemas.microsoft.com/office/drawing/2014/main" id="{3DD8AF6B-C346-4DB3-9486-E40465256E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20675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Oval 245">
              <a:extLst>
                <a:ext uri="{FF2B5EF4-FFF2-40B4-BE49-F238E27FC236}">
                  <a16:creationId xmlns:a16="http://schemas.microsoft.com/office/drawing/2014/main" id="{2613A9D5-7064-4995-A493-4334D0D054F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Oval 246">
              <a:extLst>
                <a:ext uri="{FF2B5EF4-FFF2-40B4-BE49-F238E27FC236}">
                  <a16:creationId xmlns:a16="http://schemas.microsoft.com/office/drawing/2014/main" id="{EDBFE2BC-9186-4FB9-9C92-BC29B9C5A3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Oval 247">
              <a:extLst>
                <a:ext uri="{FF2B5EF4-FFF2-40B4-BE49-F238E27FC236}">
                  <a16:creationId xmlns:a16="http://schemas.microsoft.com/office/drawing/2014/main" id="{5FDE7555-A435-43B9-B13B-C7FBC99751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Oval 248">
              <a:extLst>
                <a:ext uri="{FF2B5EF4-FFF2-40B4-BE49-F238E27FC236}">
                  <a16:creationId xmlns:a16="http://schemas.microsoft.com/office/drawing/2014/main" id="{3E0D0B69-284A-4384-9B0E-19129FBF004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Oval 249">
              <a:extLst>
                <a:ext uri="{FF2B5EF4-FFF2-40B4-BE49-F238E27FC236}">
                  <a16:creationId xmlns:a16="http://schemas.microsoft.com/office/drawing/2014/main" id="{7EA8B1A4-3284-42BD-A800-4CF4D0A4D6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Oval 250">
              <a:extLst>
                <a:ext uri="{FF2B5EF4-FFF2-40B4-BE49-F238E27FC236}">
                  <a16:creationId xmlns:a16="http://schemas.microsoft.com/office/drawing/2014/main" id="{964B070E-B1A3-438C-BDA3-66F14EA1C31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Oval 251">
              <a:extLst>
                <a:ext uri="{FF2B5EF4-FFF2-40B4-BE49-F238E27FC236}">
                  <a16:creationId xmlns:a16="http://schemas.microsoft.com/office/drawing/2014/main" id="{EF6B2E1D-3245-4AE8-BDB0-372DD01D3D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20675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Oval 252">
              <a:extLst>
                <a:ext uri="{FF2B5EF4-FFF2-40B4-BE49-F238E27FC236}">
                  <a16:creationId xmlns:a16="http://schemas.microsoft.com/office/drawing/2014/main" id="{727F92CD-8282-49F1-B22F-39A47DEA6AB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Oval 253">
              <a:extLst>
                <a:ext uri="{FF2B5EF4-FFF2-40B4-BE49-F238E27FC236}">
                  <a16:creationId xmlns:a16="http://schemas.microsoft.com/office/drawing/2014/main" id="{0F714802-B401-4B6C-B538-30402989D7A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Oval 254">
              <a:extLst>
                <a:ext uri="{FF2B5EF4-FFF2-40B4-BE49-F238E27FC236}">
                  <a16:creationId xmlns:a16="http://schemas.microsoft.com/office/drawing/2014/main" id="{7A1CCFEC-D8F3-472C-9D79-395FC4F8E8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Oval 255">
              <a:extLst>
                <a:ext uri="{FF2B5EF4-FFF2-40B4-BE49-F238E27FC236}">
                  <a16:creationId xmlns:a16="http://schemas.microsoft.com/office/drawing/2014/main" id="{C498D929-013D-48A8-A578-9C8CA44C037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0321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Oval 256">
              <a:extLst>
                <a:ext uri="{FF2B5EF4-FFF2-40B4-BE49-F238E27FC236}">
                  <a16:creationId xmlns:a16="http://schemas.microsoft.com/office/drawing/2014/main" id="{3EB4F9AE-5F0B-4CD3-B9F5-2DD5C1C0172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Oval 257">
              <a:extLst>
                <a:ext uri="{FF2B5EF4-FFF2-40B4-BE49-F238E27FC236}">
                  <a16:creationId xmlns:a16="http://schemas.microsoft.com/office/drawing/2014/main" id="{BA561F42-116A-4DCF-A447-5C52F1B5E63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Oval 258">
              <a:extLst>
                <a:ext uri="{FF2B5EF4-FFF2-40B4-BE49-F238E27FC236}">
                  <a16:creationId xmlns:a16="http://schemas.microsoft.com/office/drawing/2014/main" id="{739355AD-66DC-4BC1-A486-99DC23E13DA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Oval 259">
              <a:extLst>
                <a:ext uri="{FF2B5EF4-FFF2-40B4-BE49-F238E27FC236}">
                  <a16:creationId xmlns:a16="http://schemas.microsoft.com/office/drawing/2014/main" id="{95C4CB93-F72F-4946-882C-2A7F9321D7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260">
              <a:extLst>
                <a:ext uri="{FF2B5EF4-FFF2-40B4-BE49-F238E27FC236}">
                  <a16:creationId xmlns:a16="http://schemas.microsoft.com/office/drawing/2014/main" id="{8AC52352-B554-46D8-82BA-F253524FB0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Oval 261">
              <a:extLst>
                <a:ext uri="{FF2B5EF4-FFF2-40B4-BE49-F238E27FC236}">
                  <a16:creationId xmlns:a16="http://schemas.microsoft.com/office/drawing/2014/main" id="{5B30DB6B-5A78-4E69-926B-3D7F2680AE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Oval 262">
              <a:extLst>
                <a:ext uri="{FF2B5EF4-FFF2-40B4-BE49-F238E27FC236}">
                  <a16:creationId xmlns:a16="http://schemas.microsoft.com/office/drawing/2014/main" id="{0C920B72-C780-48F5-9DE6-973C5ECF83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0321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263">
              <a:extLst>
                <a:ext uri="{FF2B5EF4-FFF2-40B4-BE49-F238E27FC236}">
                  <a16:creationId xmlns:a16="http://schemas.microsoft.com/office/drawing/2014/main" id="{903A7B6B-6E0B-42A4-B1C7-73B12714BF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264">
              <a:extLst>
                <a:ext uri="{FF2B5EF4-FFF2-40B4-BE49-F238E27FC236}">
                  <a16:creationId xmlns:a16="http://schemas.microsoft.com/office/drawing/2014/main" id="{67296AA2-50AF-40C8-978A-799E24E81B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265">
              <a:extLst>
                <a:ext uri="{FF2B5EF4-FFF2-40B4-BE49-F238E27FC236}">
                  <a16:creationId xmlns:a16="http://schemas.microsoft.com/office/drawing/2014/main" id="{267640BD-988E-4151-9D9B-FF9E1F4ED9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285591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266">
              <a:extLst>
                <a:ext uri="{FF2B5EF4-FFF2-40B4-BE49-F238E27FC236}">
                  <a16:creationId xmlns:a16="http://schemas.microsoft.com/office/drawing/2014/main" id="{B1B1C07D-110C-4B99-A556-7BBC6220221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267">
              <a:extLst>
                <a:ext uri="{FF2B5EF4-FFF2-40B4-BE49-F238E27FC236}">
                  <a16:creationId xmlns:a16="http://schemas.microsoft.com/office/drawing/2014/main" id="{EF16F50F-3E02-4D95-98B6-EBF1DBC376A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268">
              <a:extLst>
                <a:ext uri="{FF2B5EF4-FFF2-40B4-BE49-F238E27FC236}">
                  <a16:creationId xmlns:a16="http://schemas.microsoft.com/office/drawing/2014/main" id="{090060BE-0EF0-42E1-B8EE-3FEF64E4EC7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269">
              <a:extLst>
                <a:ext uri="{FF2B5EF4-FFF2-40B4-BE49-F238E27FC236}">
                  <a16:creationId xmlns:a16="http://schemas.microsoft.com/office/drawing/2014/main" id="{72CECA9F-7216-4297-9815-D7F8A0E9582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270">
              <a:extLst>
                <a:ext uri="{FF2B5EF4-FFF2-40B4-BE49-F238E27FC236}">
                  <a16:creationId xmlns:a16="http://schemas.microsoft.com/office/drawing/2014/main" id="{E1F86BCE-730A-4D92-9D36-CC20748360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271">
              <a:extLst>
                <a:ext uri="{FF2B5EF4-FFF2-40B4-BE49-F238E27FC236}">
                  <a16:creationId xmlns:a16="http://schemas.microsoft.com/office/drawing/2014/main" id="{7E1200D7-D97F-48ED-BA5E-C76A225606D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272">
              <a:extLst>
                <a:ext uri="{FF2B5EF4-FFF2-40B4-BE49-F238E27FC236}">
                  <a16:creationId xmlns:a16="http://schemas.microsoft.com/office/drawing/2014/main" id="{239E79D8-2EE6-499C-BF98-20076052C5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285591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273">
              <a:extLst>
                <a:ext uri="{FF2B5EF4-FFF2-40B4-BE49-F238E27FC236}">
                  <a16:creationId xmlns:a16="http://schemas.microsoft.com/office/drawing/2014/main" id="{E24C439B-18C3-431F-8CA6-33091160A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274">
              <a:extLst>
                <a:ext uri="{FF2B5EF4-FFF2-40B4-BE49-F238E27FC236}">
                  <a16:creationId xmlns:a16="http://schemas.microsoft.com/office/drawing/2014/main" id="{B3C7A497-EF91-4622-A9BD-BE884B22BC5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275">
              <a:extLst>
                <a:ext uri="{FF2B5EF4-FFF2-40B4-BE49-F238E27FC236}">
                  <a16:creationId xmlns:a16="http://schemas.microsoft.com/office/drawing/2014/main" id="{B566F0EB-D268-4C32-B982-46CFA1EA27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Oval 276">
              <a:extLst>
                <a:ext uri="{FF2B5EF4-FFF2-40B4-BE49-F238E27FC236}">
                  <a16:creationId xmlns:a16="http://schemas.microsoft.com/office/drawing/2014/main" id="{34042161-42DF-4FE7-952A-43F3B2E4508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Oval 277">
              <a:extLst>
                <a:ext uri="{FF2B5EF4-FFF2-40B4-BE49-F238E27FC236}">
                  <a16:creationId xmlns:a16="http://schemas.microsoft.com/office/drawing/2014/main" id="{6D52694C-0338-4D9A-A149-4DD1C4B4F3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Oval 278">
              <a:extLst>
                <a:ext uri="{FF2B5EF4-FFF2-40B4-BE49-F238E27FC236}">
                  <a16:creationId xmlns:a16="http://schemas.microsoft.com/office/drawing/2014/main" id="{5ACA62B2-29FF-4DA6-85B0-4E5EED3C0F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Oval 279">
              <a:extLst>
                <a:ext uri="{FF2B5EF4-FFF2-40B4-BE49-F238E27FC236}">
                  <a16:creationId xmlns:a16="http://schemas.microsoft.com/office/drawing/2014/main" id="{3FBD82A9-30D3-4215-A730-2006F4FFB8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Oval 280">
              <a:extLst>
                <a:ext uri="{FF2B5EF4-FFF2-40B4-BE49-F238E27FC236}">
                  <a16:creationId xmlns:a16="http://schemas.microsoft.com/office/drawing/2014/main" id="{34439C9D-F32A-4343-B00B-1ECDC95187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26812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Oval 281">
              <a:extLst>
                <a:ext uri="{FF2B5EF4-FFF2-40B4-BE49-F238E27FC236}">
                  <a16:creationId xmlns:a16="http://schemas.microsoft.com/office/drawing/2014/main" id="{35F23D87-367F-47F7-82C7-3C80C9A7FB0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Oval 282">
              <a:extLst>
                <a:ext uri="{FF2B5EF4-FFF2-40B4-BE49-F238E27FC236}">
                  <a16:creationId xmlns:a16="http://schemas.microsoft.com/office/drawing/2014/main" id="{2A9A663B-F784-441B-B504-7A2A73046C5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Oval 283">
              <a:extLst>
                <a:ext uri="{FF2B5EF4-FFF2-40B4-BE49-F238E27FC236}">
                  <a16:creationId xmlns:a16="http://schemas.microsoft.com/office/drawing/2014/main" id="{410BDD60-BEF3-4802-88E9-0CC99EE52C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417E5DCC-AAD6-4F56-875B-8EED9F3AE6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41832" y="1"/>
            <a:ext cx="5650169" cy="4579641"/>
          </a:xfrm>
          <a:custGeom>
            <a:avLst/>
            <a:gdLst>
              <a:gd name="connsiteX0" fmla="*/ 267450 w 5650169"/>
              <a:gd name="connsiteY0" fmla="*/ 0 h 4579641"/>
              <a:gd name="connsiteX1" fmla="*/ 5650169 w 5650169"/>
              <a:gd name="connsiteY1" fmla="*/ 0 h 4579641"/>
              <a:gd name="connsiteX2" fmla="*/ 5650169 w 5650169"/>
              <a:gd name="connsiteY2" fmla="*/ 3566615 h 4579641"/>
              <a:gd name="connsiteX3" fmla="*/ 5603211 w 5650169"/>
              <a:gd name="connsiteY3" fmla="*/ 3618282 h 4579641"/>
              <a:gd name="connsiteX4" fmla="*/ 3282285 w 5650169"/>
              <a:gd name="connsiteY4" fmla="*/ 4579641 h 4579641"/>
              <a:gd name="connsiteX5" fmla="*/ 0 w 5650169"/>
              <a:gd name="connsiteY5" fmla="*/ 1297357 h 4579641"/>
              <a:gd name="connsiteX6" fmla="*/ 257939 w 5650169"/>
              <a:gd name="connsiteY6" fmla="*/ 19744 h 4579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50169" h="4579641">
                <a:moveTo>
                  <a:pt x="267450" y="0"/>
                </a:moveTo>
                <a:lnTo>
                  <a:pt x="5650169" y="0"/>
                </a:lnTo>
                <a:lnTo>
                  <a:pt x="5650169" y="3566615"/>
                </a:lnTo>
                <a:lnTo>
                  <a:pt x="5603211" y="3618282"/>
                </a:lnTo>
                <a:cubicBezTo>
                  <a:pt x="5009234" y="4212259"/>
                  <a:pt x="4188663" y="4579641"/>
                  <a:pt x="3282285" y="4579641"/>
                </a:cubicBezTo>
                <a:cubicBezTo>
                  <a:pt x="1469529" y="4579641"/>
                  <a:pt x="0" y="3110112"/>
                  <a:pt x="0" y="1297357"/>
                </a:cubicBezTo>
                <a:cubicBezTo>
                  <a:pt x="0" y="844168"/>
                  <a:pt x="91846" y="412431"/>
                  <a:pt x="257939" y="19744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5243" y="102703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25881912-BC69-4698-AA3C-F7D789043C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2690" y="1725442"/>
            <a:ext cx="3017486" cy="1847850"/>
          </a:xfrm>
        </p:spPr>
        <p:txBody>
          <a:bodyPr>
            <a:normAutofit/>
          </a:bodyPr>
          <a:lstStyle>
            <a:lvl1pPr marL="0" indent="0">
              <a:buNone/>
              <a:defRPr sz="2400" u="sng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AA6194C-566B-427B-91C7-4E6536623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71433" y="3654356"/>
            <a:ext cx="3497037" cy="185057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42564699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59E9E2D-2B07-4FBB-AA6E-7DE7CE6D802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1627909 h 6858000"/>
              <a:gd name="connsiteX3" fmla="*/ 4294909 w 6096000"/>
              <a:gd name="connsiteY3" fmla="*/ 3429000 h 6858000"/>
              <a:gd name="connsiteX4" fmla="*/ 6096000 w 6096000"/>
              <a:gd name="connsiteY4" fmla="*/ 5230091 h 6858000"/>
              <a:gd name="connsiteX5" fmla="*/ 6096000 w 6096000"/>
              <a:gd name="connsiteY5" fmla="*/ 6858000 h 6858000"/>
              <a:gd name="connsiteX6" fmla="*/ 0 w 6096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1627909"/>
                </a:lnTo>
                <a:cubicBezTo>
                  <a:pt x="5101285" y="1627909"/>
                  <a:pt x="4294909" y="2434285"/>
                  <a:pt x="4294909" y="3429000"/>
                </a:cubicBezTo>
                <a:cubicBezTo>
                  <a:pt x="4294909" y="4423715"/>
                  <a:pt x="5101285" y="5230091"/>
                  <a:pt x="6096000" y="5230091"/>
                </a:cubicBez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CFD4F87-FB55-442F-89B5-9CFA6833D07F}"/>
              </a:ext>
            </a:extLst>
          </p:cNvPr>
          <p:cNvSpPr/>
          <p:nvPr userDrawn="1"/>
        </p:nvSpPr>
        <p:spPr>
          <a:xfrm>
            <a:off x="4294909" y="1627909"/>
            <a:ext cx="3602182" cy="3602182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8A2EFE70-EC80-4F62-B1BC-8388C7142D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712" y="2528824"/>
            <a:ext cx="3017486" cy="1847850"/>
          </a:xfrm>
        </p:spPr>
        <p:txBody>
          <a:bodyPr>
            <a:normAutofit/>
          </a:bodyPr>
          <a:lstStyle>
            <a:lvl1pPr marL="0" indent="0">
              <a:buNone/>
              <a:defRPr sz="2400" u="sng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5D7F46B-63B9-4010-A77F-8BF8D89713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00654" y="1725442"/>
            <a:ext cx="2909455" cy="2616045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9424896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0DAE6F-3B2A-4650-A2EF-878BAD1A57F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504541" y="1239071"/>
            <a:ext cx="1858093" cy="1858091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F5C8E44-4CB5-4D8B-AFDB-ADA71B1A231D}"/>
              </a:ext>
            </a:extLst>
          </p:cNvPr>
          <p:cNvSpPr/>
          <p:nvPr userDrawn="1"/>
        </p:nvSpPr>
        <p:spPr>
          <a:xfrm>
            <a:off x="4262490" y="1224322"/>
            <a:ext cx="1887588" cy="1887588"/>
          </a:xfrm>
          <a:prstGeom prst="ellipse">
            <a:avLst/>
          </a:pr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E8C25AC4-4094-4F7A-AEFE-96338A0449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62490" y="3952568"/>
            <a:ext cx="1858093" cy="1858091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90E7C75-0C3C-41FC-AEF5-D5EB41EE8FE0}"/>
              </a:ext>
            </a:extLst>
          </p:cNvPr>
          <p:cNvSpPr/>
          <p:nvPr userDrawn="1"/>
        </p:nvSpPr>
        <p:spPr>
          <a:xfrm>
            <a:off x="1504541" y="3937819"/>
            <a:ext cx="1887588" cy="1887588"/>
          </a:xfrm>
          <a:prstGeom prst="ellipse">
            <a:avLst/>
          </a:prstGeom>
          <a:noFill/>
          <a:ln w="190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8784537-100B-4582-BA5E-077D82DDF492}"/>
              </a:ext>
            </a:extLst>
          </p:cNvPr>
          <p:cNvGrpSpPr/>
          <p:nvPr userDrawn="1"/>
        </p:nvGrpSpPr>
        <p:grpSpPr>
          <a:xfrm>
            <a:off x="7049934" y="-2165893"/>
            <a:ext cx="942109" cy="4219541"/>
            <a:chOff x="6471577" y="-492936"/>
            <a:chExt cx="862012" cy="3860801"/>
          </a:xfrm>
        </p:grpSpPr>
        <p:sp>
          <p:nvSpPr>
            <p:cNvPr id="10" name="Oval 98">
              <a:extLst>
                <a:ext uri="{FF2B5EF4-FFF2-40B4-BE49-F238E27FC236}">
                  <a16:creationId xmlns:a16="http://schemas.microsoft.com/office/drawing/2014/main" id="{4DED024F-1533-4490-9066-4ABD21B77B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317101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99">
              <a:extLst>
                <a:ext uri="{FF2B5EF4-FFF2-40B4-BE49-F238E27FC236}">
                  <a16:creationId xmlns:a16="http://schemas.microsoft.com/office/drawing/2014/main" id="{6B57047C-65F5-4008-A1DB-F7EFEE6AFC2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2837640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Oval 100">
              <a:extLst>
                <a:ext uri="{FF2B5EF4-FFF2-40B4-BE49-F238E27FC236}">
                  <a16:creationId xmlns:a16="http://schemas.microsoft.com/office/drawing/2014/main" id="{1415939A-6190-46EA-A64A-4658434072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250426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Oval 101">
              <a:extLst>
                <a:ext uri="{FF2B5EF4-FFF2-40B4-BE49-F238E27FC236}">
                  <a16:creationId xmlns:a16="http://schemas.microsoft.com/office/drawing/2014/main" id="{36FC26CA-C6D6-4FDA-830A-741DD536C3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217247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Oval 102">
              <a:extLst>
                <a:ext uri="{FF2B5EF4-FFF2-40B4-BE49-F238E27FC236}">
                  <a16:creationId xmlns:a16="http://schemas.microsoft.com/office/drawing/2014/main" id="{71AA8058-984C-4738-B157-E297AE5FCE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839102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Oval 103">
              <a:extLst>
                <a:ext uri="{FF2B5EF4-FFF2-40B4-BE49-F238E27FC236}">
                  <a16:creationId xmlns:a16="http://schemas.microsoft.com/office/drawing/2014/main" id="{B15EB68F-DC33-4FCC-BC33-2D5826EB96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50572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Oval 104">
              <a:extLst>
                <a:ext uri="{FF2B5EF4-FFF2-40B4-BE49-F238E27FC236}">
                  <a16:creationId xmlns:a16="http://schemas.microsoft.com/office/drawing/2014/main" id="{EC3E695F-F1B4-47DB-90D9-3ECD1BFF3D3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17235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Oval 105">
              <a:extLst>
                <a:ext uri="{FF2B5EF4-FFF2-40B4-BE49-F238E27FC236}">
                  <a16:creationId xmlns:a16="http://schemas.microsoft.com/office/drawing/2014/main" id="{66D6B0AE-2E73-443B-A53E-CA82258DB0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838977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Oval 106">
              <a:extLst>
                <a:ext uri="{FF2B5EF4-FFF2-40B4-BE49-F238E27FC236}">
                  <a16:creationId xmlns:a16="http://schemas.microsoft.com/office/drawing/2014/main" id="{8C594B95-9B82-43E9-8EA4-E835EA7BFD3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50560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107">
              <a:extLst>
                <a:ext uri="{FF2B5EF4-FFF2-40B4-BE49-F238E27FC236}">
                  <a16:creationId xmlns:a16="http://schemas.microsoft.com/office/drawing/2014/main" id="{20B704EE-9E28-4635-A1B6-1D7900BAB01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73815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Oval 108">
              <a:extLst>
                <a:ext uri="{FF2B5EF4-FFF2-40B4-BE49-F238E27FC236}">
                  <a16:creationId xmlns:a16="http://schemas.microsoft.com/office/drawing/2014/main" id="{B8830B45-2887-4F78-9D5A-B63FF87B11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-159560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109">
              <a:extLst>
                <a:ext uri="{FF2B5EF4-FFF2-40B4-BE49-F238E27FC236}">
                  <a16:creationId xmlns:a16="http://schemas.microsoft.com/office/drawing/2014/main" id="{D2F61EC3-9B89-493D-914F-6319230ADA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-492936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119">
              <a:extLst>
                <a:ext uri="{FF2B5EF4-FFF2-40B4-BE49-F238E27FC236}">
                  <a16:creationId xmlns:a16="http://schemas.microsoft.com/office/drawing/2014/main" id="{8D1E7D61-BD42-4FAD-817A-23AF86DD039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3171015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120">
              <a:extLst>
                <a:ext uri="{FF2B5EF4-FFF2-40B4-BE49-F238E27FC236}">
                  <a16:creationId xmlns:a16="http://schemas.microsoft.com/office/drawing/2014/main" id="{9B63A1E3-4914-42C6-BAB9-EA3DD5DDCFC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2837640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121">
              <a:extLst>
                <a:ext uri="{FF2B5EF4-FFF2-40B4-BE49-F238E27FC236}">
                  <a16:creationId xmlns:a16="http://schemas.microsoft.com/office/drawing/2014/main" id="{2C4CE49A-BFF6-4A86-BE3F-2A800461BC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2504265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122">
              <a:extLst>
                <a:ext uri="{FF2B5EF4-FFF2-40B4-BE49-F238E27FC236}">
                  <a16:creationId xmlns:a16="http://schemas.microsoft.com/office/drawing/2014/main" id="{A6EBA6C6-C14E-4068-83EF-3F06061FD7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2172477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Oval 123">
              <a:extLst>
                <a:ext uri="{FF2B5EF4-FFF2-40B4-BE49-F238E27FC236}">
                  <a16:creationId xmlns:a16="http://schemas.microsoft.com/office/drawing/2014/main" id="{3A9248E2-2C9B-494F-87AD-BAA159B824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839102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124">
              <a:extLst>
                <a:ext uri="{FF2B5EF4-FFF2-40B4-BE49-F238E27FC236}">
                  <a16:creationId xmlns:a16="http://schemas.microsoft.com/office/drawing/2014/main" id="{BFE1363F-EB5C-4EBF-A472-C887192A311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505727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125">
              <a:extLst>
                <a:ext uri="{FF2B5EF4-FFF2-40B4-BE49-F238E27FC236}">
                  <a16:creationId xmlns:a16="http://schemas.microsoft.com/office/drawing/2014/main" id="{B41300D3-7CBB-45F1-9593-695EEE0A62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172352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126">
              <a:extLst>
                <a:ext uri="{FF2B5EF4-FFF2-40B4-BE49-F238E27FC236}">
                  <a16:creationId xmlns:a16="http://schemas.microsoft.com/office/drawing/2014/main" id="{65112A1F-9A27-4F26-A272-BA0F0753F4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838977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127">
              <a:extLst>
                <a:ext uri="{FF2B5EF4-FFF2-40B4-BE49-F238E27FC236}">
                  <a16:creationId xmlns:a16="http://schemas.microsoft.com/office/drawing/2014/main" id="{6142B977-586B-4DB5-8DD7-3C9ACF8FBB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505602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128">
              <a:extLst>
                <a:ext uri="{FF2B5EF4-FFF2-40B4-BE49-F238E27FC236}">
                  <a16:creationId xmlns:a16="http://schemas.microsoft.com/office/drawing/2014/main" id="{1F758D82-22C7-4ED3-9F0C-0846924CDA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73815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129">
              <a:extLst>
                <a:ext uri="{FF2B5EF4-FFF2-40B4-BE49-F238E27FC236}">
                  <a16:creationId xmlns:a16="http://schemas.microsoft.com/office/drawing/2014/main" id="{2143EB10-ED2C-43CC-8258-D474BC5872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-159560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130">
              <a:extLst>
                <a:ext uri="{FF2B5EF4-FFF2-40B4-BE49-F238E27FC236}">
                  <a16:creationId xmlns:a16="http://schemas.microsoft.com/office/drawing/2014/main" id="{76F39FE3-154C-4F5E-891C-14FE37E69AD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-492936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140">
              <a:extLst>
                <a:ext uri="{FF2B5EF4-FFF2-40B4-BE49-F238E27FC236}">
                  <a16:creationId xmlns:a16="http://schemas.microsoft.com/office/drawing/2014/main" id="{C38E76FC-A4E6-483F-B9B8-AD341ED0D4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317101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141">
              <a:extLst>
                <a:ext uri="{FF2B5EF4-FFF2-40B4-BE49-F238E27FC236}">
                  <a16:creationId xmlns:a16="http://schemas.microsoft.com/office/drawing/2014/main" id="{252B5269-7B4F-49C5-8180-4BD4A49A3EE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2837640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142">
              <a:extLst>
                <a:ext uri="{FF2B5EF4-FFF2-40B4-BE49-F238E27FC236}">
                  <a16:creationId xmlns:a16="http://schemas.microsoft.com/office/drawing/2014/main" id="{F38D5BC0-3054-4AAD-BD39-FA9AD0DD2F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250426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143">
              <a:extLst>
                <a:ext uri="{FF2B5EF4-FFF2-40B4-BE49-F238E27FC236}">
                  <a16:creationId xmlns:a16="http://schemas.microsoft.com/office/drawing/2014/main" id="{914F343A-5978-44A0-85D1-FC072F2473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217247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144">
              <a:extLst>
                <a:ext uri="{FF2B5EF4-FFF2-40B4-BE49-F238E27FC236}">
                  <a16:creationId xmlns:a16="http://schemas.microsoft.com/office/drawing/2014/main" id="{4DA30F3E-3566-4AF7-8F3E-BC77F07390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839102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145">
              <a:extLst>
                <a:ext uri="{FF2B5EF4-FFF2-40B4-BE49-F238E27FC236}">
                  <a16:creationId xmlns:a16="http://schemas.microsoft.com/office/drawing/2014/main" id="{8C5DB5B9-5F04-4CD1-9CEA-F01673536BC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50572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146">
              <a:extLst>
                <a:ext uri="{FF2B5EF4-FFF2-40B4-BE49-F238E27FC236}">
                  <a16:creationId xmlns:a16="http://schemas.microsoft.com/office/drawing/2014/main" id="{D343BBF4-D3C3-4FA3-8FD9-EBA38C5FB4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17235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147">
              <a:extLst>
                <a:ext uri="{FF2B5EF4-FFF2-40B4-BE49-F238E27FC236}">
                  <a16:creationId xmlns:a16="http://schemas.microsoft.com/office/drawing/2014/main" id="{AA6E7DA1-7769-466C-8858-CD44D6A3AF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838977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148">
              <a:extLst>
                <a:ext uri="{FF2B5EF4-FFF2-40B4-BE49-F238E27FC236}">
                  <a16:creationId xmlns:a16="http://schemas.microsoft.com/office/drawing/2014/main" id="{A4B36F0F-0232-4F21-886E-A70308D023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50560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Oval 149">
              <a:extLst>
                <a:ext uri="{FF2B5EF4-FFF2-40B4-BE49-F238E27FC236}">
                  <a16:creationId xmlns:a16="http://schemas.microsoft.com/office/drawing/2014/main" id="{67A6CC93-F576-42B3-9B57-D18E7EA9D6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73815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Oval 150">
              <a:extLst>
                <a:ext uri="{FF2B5EF4-FFF2-40B4-BE49-F238E27FC236}">
                  <a16:creationId xmlns:a16="http://schemas.microsoft.com/office/drawing/2014/main" id="{C1DA2DF3-54A5-4097-94B2-95076F3AE69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-159560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Oval 151">
              <a:extLst>
                <a:ext uri="{FF2B5EF4-FFF2-40B4-BE49-F238E27FC236}">
                  <a16:creationId xmlns:a16="http://schemas.microsoft.com/office/drawing/2014/main" id="{D1E9DEEF-090E-44BC-8497-24515B6668E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-492936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E0CD46C1-956A-45B4-839B-8B9D1E8FFD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49933" y="2615736"/>
            <a:ext cx="3598401" cy="105156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5B39F930-45B2-488B-A180-F9BC5EA693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49934" y="3707057"/>
            <a:ext cx="3598400" cy="211835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E865BE92-A408-429A-88BE-7C2B18555F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2489" y="2027773"/>
            <a:ext cx="1887589" cy="411007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F9B66EE1-B495-4AD7-BCAA-1B4AB6D46F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99566" y="4766232"/>
            <a:ext cx="1887589" cy="411007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30B3DB81-E19D-4C28-8F22-99B140D1BB6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47133" y="1962612"/>
            <a:ext cx="1887589" cy="411007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CF618764-85B7-4812-8E5A-B4D85E3A6CA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75045" y="4766231"/>
            <a:ext cx="1887589" cy="411007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8832286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83F49A2-019C-4E34-BBAF-A4D7A9086FB8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BD2C164-A549-4793-BAF4-64DB17D350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92629" y="1169729"/>
            <a:ext cx="4550292" cy="4550292"/>
          </a:xfrm>
          <a:custGeom>
            <a:avLst/>
            <a:gdLst>
              <a:gd name="connsiteX0" fmla="*/ 2274924 w 4550292"/>
              <a:gd name="connsiteY0" fmla="*/ 1025894 h 4550292"/>
              <a:gd name="connsiteX1" fmla="*/ 1041547 w 4550292"/>
              <a:gd name="connsiteY1" fmla="*/ 2259271 h 4550292"/>
              <a:gd name="connsiteX2" fmla="*/ 2274924 w 4550292"/>
              <a:gd name="connsiteY2" fmla="*/ 3492648 h 4550292"/>
              <a:gd name="connsiteX3" fmla="*/ 3508301 w 4550292"/>
              <a:gd name="connsiteY3" fmla="*/ 2259271 h 4550292"/>
              <a:gd name="connsiteX4" fmla="*/ 2274924 w 4550292"/>
              <a:gd name="connsiteY4" fmla="*/ 1025894 h 4550292"/>
              <a:gd name="connsiteX5" fmla="*/ 2275146 w 4550292"/>
              <a:gd name="connsiteY5" fmla="*/ 0 h 4550292"/>
              <a:gd name="connsiteX6" fmla="*/ 4550292 w 4550292"/>
              <a:gd name="connsiteY6" fmla="*/ 2275146 h 4550292"/>
              <a:gd name="connsiteX7" fmla="*/ 2275146 w 4550292"/>
              <a:gd name="connsiteY7" fmla="*/ 4550292 h 4550292"/>
              <a:gd name="connsiteX8" fmla="*/ 0 w 4550292"/>
              <a:gd name="connsiteY8" fmla="*/ 2275146 h 4550292"/>
              <a:gd name="connsiteX9" fmla="*/ 2275146 w 4550292"/>
              <a:gd name="connsiteY9" fmla="*/ 0 h 4550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50292" h="4550292">
                <a:moveTo>
                  <a:pt x="2274924" y="1025894"/>
                </a:moveTo>
                <a:cubicBezTo>
                  <a:pt x="1593749" y="1025894"/>
                  <a:pt x="1041547" y="1578096"/>
                  <a:pt x="1041547" y="2259271"/>
                </a:cubicBezTo>
                <a:cubicBezTo>
                  <a:pt x="1041547" y="2940446"/>
                  <a:pt x="1593749" y="3492648"/>
                  <a:pt x="2274924" y="3492648"/>
                </a:cubicBezTo>
                <a:cubicBezTo>
                  <a:pt x="2956099" y="3492648"/>
                  <a:pt x="3508301" y="2940446"/>
                  <a:pt x="3508301" y="2259271"/>
                </a:cubicBezTo>
                <a:cubicBezTo>
                  <a:pt x="3508301" y="1578096"/>
                  <a:pt x="2956099" y="1025894"/>
                  <a:pt x="2274924" y="1025894"/>
                </a:cubicBezTo>
                <a:close/>
                <a:moveTo>
                  <a:pt x="2275146" y="0"/>
                </a:moveTo>
                <a:cubicBezTo>
                  <a:pt x="3531674" y="0"/>
                  <a:pt x="4550292" y="1018618"/>
                  <a:pt x="4550292" y="2275146"/>
                </a:cubicBezTo>
                <a:cubicBezTo>
                  <a:pt x="4550292" y="3531674"/>
                  <a:pt x="3531674" y="4550292"/>
                  <a:pt x="2275146" y="4550292"/>
                </a:cubicBezTo>
                <a:cubicBezTo>
                  <a:pt x="1018618" y="4550292"/>
                  <a:pt x="0" y="3531674"/>
                  <a:pt x="0" y="2275146"/>
                </a:cubicBezTo>
                <a:cubicBezTo>
                  <a:pt x="0" y="1018618"/>
                  <a:pt x="1018618" y="0"/>
                  <a:pt x="2275146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4590769-676C-47F1-90A0-AF678FE80E71}"/>
              </a:ext>
            </a:extLst>
          </p:cNvPr>
          <p:cNvSpPr/>
          <p:nvPr userDrawn="1"/>
        </p:nvSpPr>
        <p:spPr>
          <a:xfrm>
            <a:off x="7634176" y="2195623"/>
            <a:ext cx="2466754" cy="246675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57963B66-7326-4387-A0BA-D8D978EA16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2690" y="1725442"/>
            <a:ext cx="4089794" cy="1847850"/>
          </a:xfrm>
        </p:spPr>
        <p:txBody>
          <a:bodyPr>
            <a:normAutofit/>
          </a:bodyPr>
          <a:lstStyle>
            <a:lvl1pPr marL="0" indent="0">
              <a:buNone/>
              <a:defRPr sz="2400" u="sng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369AEAB-B4BC-43B3-AE11-412AD5A22B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62690" y="3654356"/>
            <a:ext cx="4089794" cy="185057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3997297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B064413-1B38-4F78-834D-569F0F343D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 flipH="1">
            <a:off x="0" y="0"/>
            <a:ext cx="5854401" cy="5856514"/>
          </a:xfrm>
          <a:prstGeom prst="teardrop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5" name="Text Placeholder 11">
            <a:extLst>
              <a:ext uri="{FF2B5EF4-FFF2-40B4-BE49-F238E27FC236}">
                <a16:creationId xmlns:a16="http://schemas.microsoft.com/office/drawing/2014/main" id="{C162F28F-2940-4855-A201-B9217CAC5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62952" y="870857"/>
            <a:ext cx="4485382" cy="1770993"/>
          </a:xfr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6" name="Text Placeholder 11">
            <a:extLst>
              <a:ext uri="{FF2B5EF4-FFF2-40B4-BE49-F238E27FC236}">
                <a16:creationId xmlns:a16="http://schemas.microsoft.com/office/drawing/2014/main" id="{96654E81-52EE-47EE-A5F0-488C9DECFD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04126" y="3326248"/>
            <a:ext cx="3598400" cy="211835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36778299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52682BA-0BB7-48C0-961E-0144CE7BA2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9050"/>
            <a:ext cx="3448050" cy="6896100"/>
          </a:xfrm>
          <a:custGeom>
            <a:avLst/>
            <a:gdLst>
              <a:gd name="connsiteX0" fmla="*/ 0 w 3448050"/>
              <a:gd name="connsiteY0" fmla="*/ 0 h 6896100"/>
              <a:gd name="connsiteX1" fmla="*/ 3448050 w 3448050"/>
              <a:gd name="connsiteY1" fmla="*/ 3448050 h 6896100"/>
              <a:gd name="connsiteX2" fmla="*/ 0 w 3448050"/>
              <a:gd name="connsiteY2" fmla="*/ 6896100 h 689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48050" h="6896100">
                <a:moveTo>
                  <a:pt x="0" y="0"/>
                </a:moveTo>
                <a:cubicBezTo>
                  <a:pt x="1904305" y="0"/>
                  <a:pt x="3448050" y="1543745"/>
                  <a:pt x="3448050" y="3448050"/>
                </a:cubicBezTo>
                <a:cubicBezTo>
                  <a:pt x="3448050" y="5352355"/>
                  <a:pt x="1904305" y="6896100"/>
                  <a:pt x="0" y="689610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25424933-555D-47F4-8084-1CBE13DAEF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10046" y="2756807"/>
            <a:ext cx="3766904" cy="1758043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CBAECBD-8C67-4327-A3BB-4B1DC48129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23026" y="984199"/>
            <a:ext cx="4606974" cy="1765545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35884847-6100-4B92-8580-01781E3EA44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23026" y="3035495"/>
            <a:ext cx="4606974" cy="43814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34D5C44E-803F-4148-AE74-153FE998D9A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23026" y="3473645"/>
            <a:ext cx="4606974" cy="91440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7B1DACD2-A3DE-4A92-A6E6-32EADFBC68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23026" y="4514850"/>
            <a:ext cx="4606974" cy="43814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F0696A6-C5F4-4BF1-927E-3216BDF874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23026" y="4953000"/>
            <a:ext cx="4606974" cy="91440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35353258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72C0C3D-9B35-4176-9A29-69EA2B1024EA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964015D-51C0-432B-A9FE-174B430AF51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38727" y="674914"/>
            <a:ext cx="5539922" cy="5539922"/>
          </a:xfrm>
          <a:custGeom>
            <a:avLst/>
            <a:gdLst>
              <a:gd name="connsiteX0" fmla="*/ 2274924 w 4550292"/>
              <a:gd name="connsiteY0" fmla="*/ 1025894 h 4550292"/>
              <a:gd name="connsiteX1" fmla="*/ 1041547 w 4550292"/>
              <a:gd name="connsiteY1" fmla="*/ 2259271 h 4550292"/>
              <a:gd name="connsiteX2" fmla="*/ 2274924 w 4550292"/>
              <a:gd name="connsiteY2" fmla="*/ 3492648 h 4550292"/>
              <a:gd name="connsiteX3" fmla="*/ 3508301 w 4550292"/>
              <a:gd name="connsiteY3" fmla="*/ 2259271 h 4550292"/>
              <a:gd name="connsiteX4" fmla="*/ 2274924 w 4550292"/>
              <a:gd name="connsiteY4" fmla="*/ 1025894 h 4550292"/>
              <a:gd name="connsiteX5" fmla="*/ 2275146 w 4550292"/>
              <a:gd name="connsiteY5" fmla="*/ 0 h 4550292"/>
              <a:gd name="connsiteX6" fmla="*/ 4550292 w 4550292"/>
              <a:gd name="connsiteY6" fmla="*/ 2275146 h 4550292"/>
              <a:gd name="connsiteX7" fmla="*/ 2275146 w 4550292"/>
              <a:gd name="connsiteY7" fmla="*/ 4550292 h 4550292"/>
              <a:gd name="connsiteX8" fmla="*/ 0 w 4550292"/>
              <a:gd name="connsiteY8" fmla="*/ 2275146 h 4550292"/>
              <a:gd name="connsiteX9" fmla="*/ 2275146 w 4550292"/>
              <a:gd name="connsiteY9" fmla="*/ 0 h 4550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50292" h="4550292">
                <a:moveTo>
                  <a:pt x="2274924" y="1025894"/>
                </a:moveTo>
                <a:cubicBezTo>
                  <a:pt x="1593749" y="1025894"/>
                  <a:pt x="1041547" y="1578096"/>
                  <a:pt x="1041547" y="2259271"/>
                </a:cubicBezTo>
                <a:cubicBezTo>
                  <a:pt x="1041547" y="2940446"/>
                  <a:pt x="1593749" y="3492648"/>
                  <a:pt x="2274924" y="3492648"/>
                </a:cubicBezTo>
                <a:cubicBezTo>
                  <a:pt x="2956099" y="3492648"/>
                  <a:pt x="3508301" y="2940446"/>
                  <a:pt x="3508301" y="2259271"/>
                </a:cubicBezTo>
                <a:cubicBezTo>
                  <a:pt x="3508301" y="1578096"/>
                  <a:pt x="2956099" y="1025894"/>
                  <a:pt x="2274924" y="1025894"/>
                </a:cubicBezTo>
                <a:close/>
                <a:moveTo>
                  <a:pt x="2275146" y="0"/>
                </a:moveTo>
                <a:cubicBezTo>
                  <a:pt x="3531674" y="0"/>
                  <a:pt x="4550292" y="1018618"/>
                  <a:pt x="4550292" y="2275146"/>
                </a:cubicBezTo>
                <a:cubicBezTo>
                  <a:pt x="4550292" y="3531674"/>
                  <a:pt x="3531674" y="4550292"/>
                  <a:pt x="2275146" y="4550292"/>
                </a:cubicBezTo>
                <a:cubicBezTo>
                  <a:pt x="1018618" y="4550292"/>
                  <a:pt x="0" y="3531674"/>
                  <a:pt x="0" y="2275146"/>
                </a:cubicBezTo>
                <a:cubicBezTo>
                  <a:pt x="0" y="1018618"/>
                  <a:pt x="1018618" y="0"/>
                  <a:pt x="2275146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8E9413E-BF8F-4A78-8365-07146CF0385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31027" y="2634343"/>
            <a:ext cx="1697268" cy="1697266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7451AC18-7167-4E52-8213-6D69FF328A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80733" y="3482976"/>
            <a:ext cx="3788009" cy="231953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EA49D5F6-0995-4A3B-AD84-08B34F0757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36737" y="1903580"/>
            <a:ext cx="4238633" cy="1209734"/>
          </a:xfrm>
        </p:spPr>
        <p:txBody>
          <a:bodyPr>
            <a:normAutofit/>
          </a:bodyPr>
          <a:lstStyle>
            <a:lvl1pPr marL="0" indent="0">
              <a:buNone/>
              <a:defRPr sz="2800" u="sng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9974987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E5A17D3-0AD1-41A8-96EF-A94009E7D6B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6FCAD8E-BFCF-4A66-92CE-2F0F2F7ADD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552245" y="1154653"/>
            <a:ext cx="4550844" cy="4548694"/>
          </a:xfrm>
          <a:custGeom>
            <a:avLst/>
            <a:gdLst>
              <a:gd name="connsiteX0" fmla="*/ 1764510 w 4550844"/>
              <a:gd name="connsiteY0" fmla="*/ 1040916 h 4548694"/>
              <a:gd name="connsiteX1" fmla="*/ 1041991 w 4550844"/>
              <a:gd name="connsiteY1" fmla="*/ 1763435 h 4548694"/>
              <a:gd name="connsiteX2" fmla="*/ 1041991 w 4550844"/>
              <a:gd name="connsiteY2" fmla="*/ 2785259 h 4548694"/>
              <a:gd name="connsiteX3" fmla="*/ 1764510 w 4550844"/>
              <a:gd name="connsiteY3" fmla="*/ 3507778 h 4548694"/>
              <a:gd name="connsiteX4" fmla="*/ 2786334 w 4550844"/>
              <a:gd name="connsiteY4" fmla="*/ 3507778 h 4548694"/>
              <a:gd name="connsiteX5" fmla="*/ 3508853 w 4550844"/>
              <a:gd name="connsiteY5" fmla="*/ 2785259 h 4548694"/>
              <a:gd name="connsiteX6" fmla="*/ 3508853 w 4550844"/>
              <a:gd name="connsiteY6" fmla="*/ 1763435 h 4548694"/>
              <a:gd name="connsiteX7" fmla="*/ 2786334 w 4550844"/>
              <a:gd name="connsiteY7" fmla="*/ 1040916 h 4548694"/>
              <a:gd name="connsiteX8" fmla="*/ 1332267 w 4550844"/>
              <a:gd name="connsiteY8" fmla="*/ 0 h 4548694"/>
              <a:gd name="connsiteX9" fmla="*/ 3218577 w 4550844"/>
              <a:gd name="connsiteY9" fmla="*/ 0 h 4548694"/>
              <a:gd name="connsiteX10" fmla="*/ 4550844 w 4550844"/>
              <a:gd name="connsiteY10" fmla="*/ 1332267 h 4548694"/>
              <a:gd name="connsiteX11" fmla="*/ 4550844 w 4550844"/>
              <a:gd name="connsiteY11" fmla="*/ 3216427 h 4548694"/>
              <a:gd name="connsiteX12" fmla="*/ 3218577 w 4550844"/>
              <a:gd name="connsiteY12" fmla="*/ 4548694 h 4548694"/>
              <a:gd name="connsiteX13" fmla="*/ 1332267 w 4550844"/>
              <a:gd name="connsiteY13" fmla="*/ 4548694 h 4548694"/>
              <a:gd name="connsiteX14" fmla="*/ 0 w 4550844"/>
              <a:gd name="connsiteY14" fmla="*/ 3216427 h 4548694"/>
              <a:gd name="connsiteX15" fmla="*/ 0 w 4550844"/>
              <a:gd name="connsiteY15" fmla="*/ 1332267 h 4548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550844" h="4548694">
                <a:moveTo>
                  <a:pt x="1764510" y="1040916"/>
                </a:moveTo>
                <a:lnTo>
                  <a:pt x="1041991" y="1763435"/>
                </a:lnTo>
                <a:lnTo>
                  <a:pt x="1041991" y="2785259"/>
                </a:lnTo>
                <a:lnTo>
                  <a:pt x="1764510" y="3507778"/>
                </a:lnTo>
                <a:lnTo>
                  <a:pt x="2786334" y="3507778"/>
                </a:lnTo>
                <a:lnTo>
                  <a:pt x="3508853" y="2785259"/>
                </a:lnTo>
                <a:lnTo>
                  <a:pt x="3508853" y="1763435"/>
                </a:lnTo>
                <a:lnTo>
                  <a:pt x="2786334" y="1040916"/>
                </a:lnTo>
                <a:close/>
                <a:moveTo>
                  <a:pt x="1332267" y="0"/>
                </a:moveTo>
                <a:lnTo>
                  <a:pt x="3218577" y="0"/>
                </a:lnTo>
                <a:lnTo>
                  <a:pt x="4550844" y="1332267"/>
                </a:lnTo>
                <a:lnTo>
                  <a:pt x="4550844" y="3216427"/>
                </a:lnTo>
                <a:lnTo>
                  <a:pt x="3218577" y="4548694"/>
                </a:lnTo>
                <a:lnTo>
                  <a:pt x="1332267" y="4548694"/>
                </a:lnTo>
                <a:lnTo>
                  <a:pt x="0" y="3216427"/>
                </a:lnTo>
                <a:lnTo>
                  <a:pt x="0" y="1332267"/>
                </a:ln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76485072-D1F3-44A1-9297-5E1F5233D8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75902" y="2377440"/>
            <a:ext cx="3489190" cy="1051560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F729284B-3C05-47C4-A7B6-51125D2CB9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75902" y="3485770"/>
            <a:ext cx="3543300" cy="231953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E72C804-562D-4406-8290-D7C2A56C1F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45460" y="937173"/>
            <a:ext cx="3489190" cy="904953"/>
          </a:xfrm>
        </p:spPr>
        <p:txBody>
          <a:bodyPr>
            <a:normAutofit/>
          </a:bodyPr>
          <a:lstStyle>
            <a:lvl1pPr marL="0" indent="0">
              <a:buNone/>
              <a:defRPr sz="1800" u="sng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6870079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705BFE24-2A8A-4D4A-8792-5478669529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0435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8" imgH="499" progId="TCLayout.ActiveDocument.1">
                  <p:embed/>
                </p:oleObj>
              </mc:Choice>
              <mc:Fallback>
                <p:oleObj name="Слайд think-cell" r:id="rId3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02F583D-2647-45EE-940D-A395E7216D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8C93AE-CDE0-4354-AC4F-4C9B4984D3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E33FEB-52D4-47C0-A09E-3B8918E36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DED82A-3CB9-4FC3-821B-6448A2E658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C993F-016C-424B-B554-1BF85CE3C53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DE9F0E6-0249-4C3B-9719-4CA71C48AED4}"/>
              </a:ext>
            </a:extLst>
          </p:cNvPr>
          <p:cNvSpPr/>
          <p:nvPr userDrawn="1"/>
        </p:nvSpPr>
        <p:spPr>
          <a:xfrm>
            <a:off x="1641234" y="909932"/>
            <a:ext cx="5033666" cy="5033666"/>
          </a:xfrm>
          <a:prstGeom prst="ellipse">
            <a:avLst/>
          </a:prstGeom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274A161-BEC1-4A11-89C1-BD134D94C8CC}"/>
              </a:ext>
            </a:extLst>
          </p:cNvPr>
          <p:cNvSpPr/>
          <p:nvPr userDrawn="1"/>
        </p:nvSpPr>
        <p:spPr>
          <a:xfrm>
            <a:off x="5634436" y="2171648"/>
            <a:ext cx="2579076" cy="2579076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4234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5681CA4-D79B-4918-B915-5267C7F43DC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432175"/>
            <a:ext cx="6629400" cy="3425825"/>
          </a:xfrm>
          <a:custGeom>
            <a:avLst/>
            <a:gdLst>
              <a:gd name="connsiteX0" fmla="*/ 3314700 w 6629400"/>
              <a:gd name="connsiteY0" fmla="*/ 0 h 3425825"/>
              <a:gd name="connsiteX1" fmla="*/ 6629400 w 6629400"/>
              <a:gd name="connsiteY1" fmla="*/ 3314700 h 3425825"/>
              <a:gd name="connsiteX2" fmla="*/ 6623789 w 6629400"/>
              <a:gd name="connsiteY2" fmla="*/ 3425825 h 3425825"/>
              <a:gd name="connsiteX3" fmla="*/ 5612 w 6629400"/>
              <a:gd name="connsiteY3" fmla="*/ 3425825 h 3425825"/>
              <a:gd name="connsiteX4" fmla="*/ 0 w 6629400"/>
              <a:gd name="connsiteY4" fmla="*/ 3314700 h 3425825"/>
              <a:gd name="connsiteX5" fmla="*/ 3314700 w 6629400"/>
              <a:gd name="connsiteY5" fmla="*/ 0 h 3425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29400" h="3425825">
                <a:moveTo>
                  <a:pt x="3314700" y="0"/>
                </a:moveTo>
                <a:cubicBezTo>
                  <a:pt x="5145358" y="0"/>
                  <a:pt x="6629400" y="1484042"/>
                  <a:pt x="6629400" y="3314700"/>
                </a:cubicBezTo>
                <a:lnTo>
                  <a:pt x="6623789" y="3425825"/>
                </a:lnTo>
                <a:lnTo>
                  <a:pt x="5612" y="3425825"/>
                </a:lnTo>
                <a:lnTo>
                  <a:pt x="0" y="3314700"/>
                </a:lnTo>
                <a:cubicBezTo>
                  <a:pt x="0" y="1484042"/>
                  <a:pt x="1484042" y="0"/>
                  <a:pt x="33147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9E972FD-499B-4ED8-B9A8-4CCF594E5A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23026" y="2425895"/>
            <a:ext cx="4606974" cy="43814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6AEE5A6-2F9B-4A0B-B44A-C7ACC92D7F4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23026" y="2864045"/>
            <a:ext cx="4606974" cy="91440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C2F6F191-1F61-4BE9-AD37-CB093603C7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23026" y="3905250"/>
            <a:ext cx="4606974" cy="43814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8D966BAF-95A3-49F7-9867-9354EDC3B74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23026" y="4343400"/>
            <a:ext cx="4606974" cy="91440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8BE684D6-EA43-4455-8EC5-87968110BE5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1"/>
            <a:ext cx="6727826" cy="3363913"/>
          </a:xfrm>
          <a:custGeom>
            <a:avLst/>
            <a:gdLst>
              <a:gd name="connsiteX0" fmla="*/ 0 w 6727826"/>
              <a:gd name="connsiteY0" fmla="*/ 0 h 3363913"/>
              <a:gd name="connsiteX1" fmla="*/ 6727826 w 6727826"/>
              <a:gd name="connsiteY1" fmla="*/ 0 h 3363913"/>
              <a:gd name="connsiteX2" fmla="*/ 3363913 w 6727826"/>
              <a:gd name="connsiteY2" fmla="*/ 3363913 h 3363913"/>
              <a:gd name="connsiteX3" fmla="*/ 0 w 6727826"/>
              <a:gd name="connsiteY3" fmla="*/ 0 h 3363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27826" h="3363913">
                <a:moveTo>
                  <a:pt x="0" y="0"/>
                </a:moveTo>
                <a:lnTo>
                  <a:pt x="6727826" y="0"/>
                </a:lnTo>
                <a:cubicBezTo>
                  <a:pt x="6727826" y="1857838"/>
                  <a:pt x="5221751" y="3363913"/>
                  <a:pt x="3363913" y="3363913"/>
                </a:cubicBezTo>
                <a:cubicBezTo>
                  <a:pt x="1506075" y="3363913"/>
                  <a:pt x="0" y="1857838"/>
                  <a:pt x="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72054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E813723A-2977-48AF-BB40-46A541ADAA8E}"/>
              </a:ext>
            </a:extLst>
          </p:cNvPr>
          <p:cNvSpPr/>
          <p:nvPr userDrawn="1"/>
        </p:nvSpPr>
        <p:spPr>
          <a:xfrm>
            <a:off x="6705601" y="-2743200"/>
            <a:ext cx="5486399" cy="54863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62CBD60-5357-4261-B01C-1A68E6BF31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71395" y="1783081"/>
            <a:ext cx="9820605" cy="5074920"/>
          </a:xfrm>
          <a:custGeom>
            <a:avLst/>
            <a:gdLst>
              <a:gd name="connsiteX0" fmla="*/ 3314700 w 6629400"/>
              <a:gd name="connsiteY0" fmla="*/ 0 h 3425825"/>
              <a:gd name="connsiteX1" fmla="*/ 6629400 w 6629400"/>
              <a:gd name="connsiteY1" fmla="*/ 3314700 h 3425825"/>
              <a:gd name="connsiteX2" fmla="*/ 6623789 w 6629400"/>
              <a:gd name="connsiteY2" fmla="*/ 3425825 h 3425825"/>
              <a:gd name="connsiteX3" fmla="*/ 5612 w 6629400"/>
              <a:gd name="connsiteY3" fmla="*/ 3425825 h 3425825"/>
              <a:gd name="connsiteX4" fmla="*/ 0 w 6629400"/>
              <a:gd name="connsiteY4" fmla="*/ 3314700 h 3425825"/>
              <a:gd name="connsiteX5" fmla="*/ 3314700 w 6629400"/>
              <a:gd name="connsiteY5" fmla="*/ 0 h 3425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29400" h="3425825">
                <a:moveTo>
                  <a:pt x="3314700" y="0"/>
                </a:moveTo>
                <a:cubicBezTo>
                  <a:pt x="5145358" y="0"/>
                  <a:pt x="6629400" y="1484042"/>
                  <a:pt x="6629400" y="3314700"/>
                </a:cubicBezTo>
                <a:lnTo>
                  <a:pt x="6623789" y="3425825"/>
                </a:lnTo>
                <a:lnTo>
                  <a:pt x="5612" y="3425825"/>
                </a:lnTo>
                <a:lnTo>
                  <a:pt x="0" y="3314700"/>
                </a:lnTo>
                <a:cubicBezTo>
                  <a:pt x="0" y="1484042"/>
                  <a:pt x="1484042" y="0"/>
                  <a:pt x="3314700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0500" y="102703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90500" y="6382238"/>
            <a:ext cx="2743200" cy="365125"/>
          </a:xfrm>
        </p:spPr>
        <p:txBody>
          <a:bodyPr/>
          <a:lstStyle>
            <a:lvl1pPr algn="l"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562889E5-E580-4A66-8938-C4E5ABBF29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2652" y="1990723"/>
            <a:ext cx="4372288" cy="1504951"/>
          </a:xfrm>
        </p:spPr>
        <p:txBody>
          <a:bodyPr>
            <a:normAutofit/>
          </a:bodyPr>
          <a:lstStyle>
            <a:lvl1pPr marL="0" indent="0">
              <a:buNone/>
              <a:defRPr sz="2400" u="sng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FBDAE28F-91EF-4D11-B7C0-6C6EF2AB5B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2652" y="3919637"/>
            <a:ext cx="4372288" cy="1607842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408184541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FD0CDD6-78BB-4E47-A0D1-ACB905EA28F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949440" cy="6858000"/>
          </a:xfrm>
          <a:custGeom>
            <a:avLst/>
            <a:gdLst>
              <a:gd name="connsiteX0" fmla="*/ 0 w 6949440"/>
              <a:gd name="connsiteY0" fmla="*/ 0 h 6858000"/>
              <a:gd name="connsiteX1" fmla="*/ 6339800 w 6949440"/>
              <a:gd name="connsiteY1" fmla="*/ 0 h 6858000"/>
              <a:gd name="connsiteX2" fmla="*/ 6163384 w 6949440"/>
              <a:gd name="connsiteY2" fmla="*/ 4461 h 6858000"/>
              <a:gd name="connsiteX3" fmla="*/ 2910840 w 6949440"/>
              <a:gd name="connsiteY3" fmla="*/ 3428999 h 6858000"/>
              <a:gd name="connsiteX4" fmla="*/ 6339840 w 6949440"/>
              <a:gd name="connsiteY4" fmla="*/ 6857999 h 6858000"/>
              <a:gd name="connsiteX5" fmla="*/ 6949440 w 6949440"/>
              <a:gd name="connsiteY5" fmla="*/ 6857999 h 6858000"/>
              <a:gd name="connsiteX6" fmla="*/ 6949440 w 6949440"/>
              <a:gd name="connsiteY6" fmla="*/ 6858000 h 6858000"/>
              <a:gd name="connsiteX7" fmla="*/ 0 w 69494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49440" h="6858000">
                <a:moveTo>
                  <a:pt x="0" y="0"/>
                </a:moveTo>
                <a:lnTo>
                  <a:pt x="6339800" y="0"/>
                </a:lnTo>
                <a:lnTo>
                  <a:pt x="6163384" y="4461"/>
                </a:lnTo>
                <a:cubicBezTo>
                  <a:pt x="4351605" y="96300"/>
                  <a:pt x="2910840" y="1594396"/>
                  <a:pt x="2910840" y="3428999"/>
                </a:cubicBezTo>
                <a:cubicBezTo>
                  <a:pt x="2910840" y="5322783"/>
                  <a:pt x="4446056" y="6857999"/>
                  <a:pt x="6339840" y="6857999"/>
                </a:cubicBezTo>
                <a:lnTo>
                  <a:pt x="6949440" y="6857999"/>
                </a:lnTo>
                <a:lnTo>
                  <a:pt x="6949440" y="6858000"/>
                </a:lnTo>
                <a:lnTo>
                  <a:pt x="0" y="6858000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7B74BD41-2DA6-41BB-B77B-E38C78FDB5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6075135-EB01-48A6-9EA0-C24B2D153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84B2CF4-3982-46A8-8073-7E2315263D0C}"/>
              </a:ext>
            </a:extLst>
          </p:cNvPr>
          <p:cNvSpPr/>
          <p:nvPr userDrawn="1"/>
        </p:nvSpPr>
        <p:spPr>
          <a:xfrm>
            <a:off x="8553849" y="794479"/>
            <a:ext cx="2458386" cy="245838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499B0E2-00A9-4708-861A-B5D2CCBEB2DA}"/>
              </a:ext>
            </a:extLst>
          </p:cNvPr>
          <p:cNvSpPr/>
          <p:nvPr userDrawn="1"/>
        </p:nvSpPr>
        <p:spPr>
          <a:xfrm>
            <a:off x="8553849" y="3597177"/>
            <a:ext cx="2458386" cy="2458386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56902A30-FD04-412F-9372-348F350B2A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74192" y="2024134"/>
            <a:ext cx="3625624" cy="1228731"/>
          </a:xfrm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2DEF50C4-8D3A-4687-ACA9-2F3C59D638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87804" y="3422883"/>
            <a:ext cx="3598400" cy="211835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0E3055E8-ED63-4016-95F6-AB1DD6430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63106" y="1805059"/>
            <a:ext cx="1839872" cy="438149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03F429AA-6F76-485D-A7C5-FF1ED902DF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63106" y="2243209"/>
            <a:ext cx="1839872" cy="8082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rgbClr val="00B0F0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D33618CE-CAF5-41B4-8508-382832500C6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9494" y="4590120"/>
            <a:ext cx="1839872" cy="438149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FB0FEF48-5C50-4C4A-AC7D-14E2C9716FF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49494" y="5028270"/>
            <a:ext cx="1839872" cy="8082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82069049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4309" y="6382238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BB51251-1A29-46E4-BB21-5A56042E854C}"/>
              </a:ext>
            </a:extLst>
          </p:cNvPr>
          <p:cNvSpPr/>
          <p:nvPr userDrawn="1"/>
        </p:nvSpPr>
        <p:spPr>
          <a:xfrm>
            <a:off x="581163" y="3252404"/>
            <a:ext cx="2458386" cy="245838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071588-5314-4DDA-B5C3-C136CEA158F9}"/>
              </a:ext>
            </a:extLst>
          </p:cNvPr>
          <p:cNvSpPr/>
          <p:nvPr userDrawn="1"/>
        </p:nvSpPr>
        <p:spPr>
          <a:xfrm>
            <a:off x="3487174" y="3252404"/>
            <a:ext cx="2458386" cy="2458386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F96C9B98-18E9-4982-A437-F244C3861FF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0420" y="4262984"/>
            <a:ext cx="1839872" cy="438149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93569C80-C4E5-4314-8BF3-2C4D5965B8B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0420" y="4701134"/>
            <a:ext cx="1839872" cy="8082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rgbClr val="00B0F0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894DEFB6-04E6-4793-831B-F92288CD7AE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82819" y="4245347"/>
            <a:ext cx="1839872" cy="438149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80B8E95-77D8-488A-AC97-3CB0CA415DA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82819" y="4683497"/>
            <a:ext cx="1839872" cy="8082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B0BE4C7-F11C-4E30-B7EB-027AA8F658EA}"/>
              </a:ext>
            </a:extLst>
          </p:cNvPr>
          <p:cNvSpPr/>
          <p:nvPr userDrawn="1"/>
        </p:nvSpPr>
        <p:spPr>
          <a:xfrm>
            <a:off x="6241205" y="3252404"/>
            <a:ext cx="2458386" cy="245838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9C05B8D-9BF3-4A39-BEAF-87B5CD7BD2C3}"/>
              </a:ext>
            </a:extLst>
          </p:cNvPr>
          <p:cNvSpPr/>
          <p:nvPr userDrawn="1"/>
        </p:nvSpPr>
        <p:spPr>
          <a:xfrm>
            <a:off x="9147216" y="3252404"/>
            <a:ext cx="2458386" cy="2458386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D1252A48-DF83-41CD-AA13-E97048B85A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50462" y="4262984"/>
            <a:ext cx="1839872" cy="438149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B4D5AD4A-CADC-4AA6-885E-331CD290A6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550462" y="4701134"/>
            <a:ext cx="1839872" cy="8082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rgbClr val="00B0F0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60627D51-CEB4-45E6-977C-8A1BCC1ECE6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42861" y="4245347"/>
            <a:ext cx="1839872" cy="438149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80F3C0C7-A584-43B5-B42E-6246924CCB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42861" y="4683497"/>
            <a:ext cx="1839872" cy="8082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B59060A0-B396-4FE2-A79B-FE1BCEE01A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801" y="737461"/>
            <a:ext cx="5484406" cy="911458"/>
          </a:xfrm>
        </p:spPr>
        <p:txBody>
          <a:bodyPr>
            <a:normAutofit/>
          </a:bodyPr>
          <a:lstStyle>
            <a:lvl1pPr marL="0" indent="0" algn="ctr">
              <a:buNone/>
              <a:defRPr sz="3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A4A5C1AA-042F-40BE-9C9D-45C000E061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4801" y="1750971"/>
            <a:ext cx="5484405" cy="1072496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61147B1-AAAA-4951-B0DD-171BF387E21D}"/>
              </a:ext>
            </a:extLst>
          </p:cNvPr>
          <p:cNvCxnSpPr/>
          <p:nvPr userDrawn="1"/>
        </p:nvCxnSpPr>
        <p:spPr>
          <a:xfrm>
            <a:off x="5658637" y="1648919"/>
            <a:ext cx="87472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32813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>
            <a:extLst>
              <a:ext uri="{FF2B5EF4-FFF2-40B4-BE49-F238E27FC236}">
                <a16:creationId xmlns:a16="http://schemas.microsoft.com/office/drawing/2014/main" id="{28A41FAA-BB8A-4235-82E4-8FF25B0A318B}"/>
              </a:ext>
            </a:extLst>
          </p:cNvPr>
          <p:cNvSpPr/>
          <p:nvPr userDrawn="1"/>
        </p:nvSpPr>
        <p:spPr>
          <a:xfrm>
            <a:off x="1996652" y="3317524"/>
            <a:ext cx="2831592" cy="283159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4AE7DF21-E0F0-448B-BB59-939B5D04522C}"/>
              </a:ext>
            </a:extLst>
          </p:cNvPr>
          <p:cNvSpPr/>
          <p:nvPr userDrawn="1"/>
        </p:nvSpPr>
        <p:spPr>
          <a:xfrm>
            <a:off x="7363756" y="3317524"/>
            <a:ext cx="2831592" cy="283159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A40D2C8-E4A1-407D-B062-B45B8986AE36}"/>
              </a:ext>
            </a:extLst>
          </p:cNvPr>
          <p:cNvSpPr/>
          <p:nvPr userDrawn="1"/>
        </p:nvSpPr>
        <p:spPr>
          <a:xfrm>
            <a:off x="4567003" y="3204323"/>
            <a:ext cx="3057994" cy="3057994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4309" y="6382238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B59060A0-B396-4FE2-A79B-FE1BCEE01A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49535" y="737461"/>
            <a:ext cx="4674938" cy="911458"/>
          </a:xfrm>
        </p:spPr>
        <p:txBody>
          <a:bodyPr>
            <a:normAutofit/>
          </a:bodyPr>
          <a:lstStyle>
            <a:lvl1pPr marL="0" indent="0" algn="ctr">
              <a:buNone/>
              <a:defRPr sz="3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A4A5C1AA-042F-40BE-9C9D-45C000E061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49535" y="1750971"/>
            <a:ext cx="4674938" cy="1072496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61147B1-AAAA-4951-B0DD-171BF387E21D}"/>
              </a:ext>
            </a:extLst>
          </p:cNvPr>
          <p:cNvCxnSpPr/>
          <p:nvPr userDrawn="1"/>
        </p:nvCxnSpPr>
        <p:spPr>
          <a:xfrm>
            <a:off x="5658637" y="1648919"/>
            <a:ext cx="87472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D703FB1E-08A8-4A12-A939-9C4BB11DF9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97670" y="4481089"/>
            <a:ext cx="1629556" cy="438149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345E094A-3A58-498E-A21F-C97DA0EE2C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97670" y="4919239"/>
            <a:ext cx="1629556" cy="8082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rgbClr val="00B0F0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CB3FE290-9FA3-4B95-8334-9848BAFC02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64774" y="4472844"/>
            <a:ext cx="1629556" cy="438149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940BD8C1-16F0-4907-BA45-38B98B5D6E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64774" y="4910994"/>
            <a:ext cx="1629556" cy="8082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rgbClr val="00B0F0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24745C9B-7399-4E3D-9B99-5FCCF3A0FA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98641" y="4262014"/>
            <a:ext cx="1629556" cy="438149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183A51CA-7C65-4E42-AD49-F817B764F4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98641" y="4700164"/>
            <a:ext cx="1629556" cy="8082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41946580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9BF72FC-91F0-48B4-B82C-80E1737D105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 flipH="1">
            <a:off x="0" y="-5028"/>
            <a:ext cx="3456040" cy="6868056"/>
          </a:xfrm>
          <a:custGeom>
            <a:avLst/>
            <a:gdLst>
              <a:gd name="connsiteX0" fmla="*/ 2300748 w 2315495"/>
              <a:gd name="connsiteY0" fmla="*/ 0 h 4601492"/>
              <a:gd name="connsiteX1" fmla="*/ 2315495 w 2315495"/>
              <a:gd name="connsiteY1" fmla="*/ 745 h 4601492"/>
              <a:gd name="connsiteX2" fmla="*/ 2315495 w 2315495"/>
              <a:gd name="connsiteY2" fmla="*/ 4600748 h 4601492"/>
              <a:gd name="connsiteX3" fmla="*/ 2300748 w 2315495"/>
              <a:gd name="connsiteY3" fmla="*/ 4601492 h 4601492"/>
              <a:gd name="connsiteX4" fmla="*/ 0 w 2315495"/>
              <a:gd name="connsiteY4" fmla="*/ 2300746 h 4601492"/>
              <a:gd name="connsiteX5" fmla="*/ 2300748 w 2315495"/>
              <a:gd name="connsiteY5" fmla="*/ 0 h 46014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15495" h="4601492">
                <a:moveTo>
                  <a:pt x="2300748" y="0"/>
                </a:moveTo>
                <a:lnTo>
                  <a:pt x="2315495" y="745"/>
                </a:lnTo>
                <a:lnTo>
                  <a:pt x="2315495" y="4600748"/>
                </a:lnTo>
                <a:lnTo>
                  <a:pt x="2300748" y="4601492"/>
                </a:lnTo>
                <a:cubicBezTo>
                  <a:pt x="1030080" y="4601492"/>
                  <a:pt x="0" y="3571413"/>
                  <a:pt x="0" y="2300746"/>
                </a:cubicBezTo>
                <a:cubicBezTo>
                  <a:pt x="0" y="1030079"/>
                  <a:pt x="1030080" y="0"/>
                  <a:pt x="2300748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C815189-C813-4E6C-9F60-0A70DDCDF8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25373" y="1001742"/>
            <a:ext cx="1629556" cy="438149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E0D6CC49-1815-47EE-8833-13BC38DFF4B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25373" y="1439892"/>
            <a:ext cx="1629556" cy="8082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rgbClr val="00B0F0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F89864-F552-4816-AB40-4B435FC0986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025373" y="5135870"/>
            <a:ext cx="1629556" cy="438149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8198E3D-C0A2-4847-AE03-B8104D5F346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25373" y="5574020"/>
            <a:ext cx="1629556" cy="8082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rgbClr val="00B0F0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C128EF4D-ACB7-4F1A-B2B1-8C18F6CF9D8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09277" y="2248110"/>
            <a:ext cx="4553807" cy="911458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E5693CB0-90E2-41C9-8AAB-C2717F1DBF7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09277" y="3261620"/>
            <a:ext cx="4553807" cy="1072496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6E7730-1DA2-4BA1-91AB-22797B8888AA}"/>
              </a:ext>
            </a:extLst>
          </p:cNvPr>
          <p:cNvCxnSpPr>
            <a:cxnSpLocks/>
          </p:cNvCxnSpPr>
          <p:nvPr userDrawn="1"/>
        </p:nvCxnSpPr>
        <p:spPr>
          <a:xfrm>
            <a:off x="6271505" y="3159568"/>
            <a:ext cx="4095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790218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52741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6DAC7A-6C03-4E09-B867-631D85A164C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758825"/>
            <a:ext cx="5338763" cy="5340351"/>
          </a:xfrm>
          <a:prstGeom prst="flowChartDelay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FE3903C9-B16F-41A8-A5B1-EB105D6A34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76773" y="3232805"/>
            <a:ext cx="2381314" cy="438149"/>
          </a:xfrm>
        </p:spPr>
        <p:txBody>
          <a:bodyPr>
            <a:normAutofit/>
          </a:bodyPr>
          <a:lstStyle>
            <a:lvl1pPr marL="0" indent="0">
              <a:buNone/>
              <a:defRPr sz="1600" b="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3A740A0A-4A1F-4DC8-AD65-FC5D66C63CB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76773" y="3578662"/>
            <a:ext cx="2381314" cy="91440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5A86869-A5FD-4C0B-AF2E-5A9C956B377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76773" y="4838919"/>
            <a:ext cx="2381314" cy="438149"/>
          </a:xfrm>
        </p:spPr>
        <p:txBody>
          <a:bodyPr>
            <a:normAutofit/>
          </a:bodyPr>
          <a:lstStyle>
            <a:lvl1pPr marL="0" indent="0">
              <a:buNone/>
              <a:defRPr sz="1600" b="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DABACFC8-2C63-466C-9B8B-E2BDB18B62B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76773" y="5184776"/>
            <a:ext cx="2381314" cy="91440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D61E15C-B4A7-4841-8546-89A886F4366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81422" y="3232805"/>
            <a:ext cx="2381314" cy="438149"/>
          </a:xfrm>
        </p:spPr>
        <p:txBody>
          <a:bodyPr>
            <a:normAutofit/>
          </a:bodyPr>
          <a:lstStyle>
            <a:lvl1pPr marL="0" indent="0">
              <a:buNone/>
              <a:defRPr sz="1600" b="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5F35E38-85E7-4214-8D4D-8FE3780E7A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181422" y="3578662"/>
            <a:ext cx="2381314" cy="91440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ACE43EBC-15FA-4DB8-AC70-B2637E51A94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81422" y="4838919"/>
            <a:ext cx="2381314" cy="438149"/>
          </a:xfrm>
        </p:spPr>
        <p:txBody>
          <a:bodyPr>
            <a:normAutofit/>
          </a:bodyPr>
          <a:lstStyle>
            <a:lvl1pPr marL="0" indent="0">
              <a:buNone/>
              <a:defRPr sz="1600" b="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1CF1D91E-D98E-4C13-9F27-AC5BE8A162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81422" y="5184776"/>
            <a:ext cx="2381314" cy="91440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690E68E-8A1D-4D73-9995-F97AB7D924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76773" y="1026938"/>
            <a:ext cx="5585963" cy="49286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44B30AF7-3106-4E05-8C60-54A5974E73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76773" y="1709089"/>
            <a:ext cx="5585963" cy="827084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86482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52741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2A13A187-2DBC-4A1F-99DB-600DBFCE114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232634" cy="4035863"/>
          </a:xfrm>
          <a:custGeom>
            <a:avLst/>
            <a:gdLst>
              <a:gd name="connsiteX0" fmla="*/ 0 w 4232634"/>
              <a:gd name="connsiteY0" fmla="*/ 0 h 4035863"/>
              <a:gd name="connsiteX1" fmla="*/ 3854019 w 4232634"/>
              <a:gd name="connsiteY1" fmla="*/ 0 h 4035863"/>
              <a:gd name="connsiteX2" fmla="*/ 3910454 w 4232634"/>
              <a:gd name="connsiteY2" fmla="*/ 92923 h 4035863"/>
              <a:gd name="connsiteX3" fmla="*/ 4232634 w 4232634"/>
              <a:gd name="connsiteY3" fmla="*/ 1365687 h 4035863"/>
              <a:gd name="connsiteX4" fmla="*/ 1563252 w 4232634"/>
              <a:gd name="connsiteY4" fmla="*/ 4035863 h 4035863"/>
              <a:gd name="connsiteX5" fmla="*/ 70775 w 4232634"/>
              <a:gd name="connsiteY5" fmla="*/ 3579839 h 4035863"/>
              <a:gd name="connsiteX6" fmla="*/ 0 w 4232634"/>
              <a:gd name="connsiteY6" fmla="*/ 3526898 h 4035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32634" h="4035863">
                <a:moveTo>
                  <a:pt x="0" y="0"/>
                </a:moveTo>
                <a:lnTo>
                  <a:pt x="3854019" y="0"/>
                </a:lnTo>
                <a:lnTo>
                  <a:pt x="3910454" y="92923"/>
                </a:lnTo>
                <a:cubicBezTo>
                  <a:pt x="4115923" y="471269"/>
                  <a:pt x="4232634" y="904844"/>
                  <a:pt x="4232634" y="1365687"/>
                </a:cubicBezTo>
                <a:cubicBezTo>
                  <a:pt x="4232634" y="2840384"/>
                  <a:pt x="3037511" y="4035863"/>
                  <a:pt x="1563252" y="4035863"/>
                </a:cubicBezTo>
                <a:cubicBezTo>
                  <a:pt x="1010405" y="4035863"/>
                  <a:pt x="496811" y="3867749"/>
                  <a:pt x="70775" y="3579839"/>
                </a:cubicBezTo>
                <a:lnTo>
                  <a:pt x="0" y="3526898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FE3903C9-B16F-41A8-A5B1-EB105D6A34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80360" y="1743218"/>
            <a:ext cx="2179085" cy="438149"/>
          </a:xfrm>
        </p:spPr>
        <p:txBody>
          <a:bodyPr>
            <a:normAutofit/>
          </a:bodyPr>
          <a:lstStyle>
            <a:lvl1pPr marL="0" indent="0">
              <a:buNone/>
              <a:defRPr sz="1600" b="1" u="none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3A740A0A-4A1F-4DC8-AD65-FC5D66C63CB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80360" y="2089075"/>
            <a:ext cx="2179085" cy="91440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690E68E-8A1D-4D73-9995-F97AB7D924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4115" y="4402466"/>
            <a:ext cx="3668519" cy="872919"/>
          </a:xfrm>
        </p:spPr>
        <p:txBody>
          <a:bodyPr>
            <a:normAutofit/>
          </a:bodyPr>
          <a:lstStyle>
            <a:lvl1pPr marL="0" indent="0" algn="l">
              <a:buNone/>
              <a:defRPr sz="3600" u="sng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6B4E75F0-85B0-480E-B0EF-E0690B23ED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63721" y="1743218"/>
            <a:ext cx="2179085" cy="438149"/>
          </a:xfrm>
        </p:spPr>
        <p:txBody>
          <a:bodyPr>
            <a:normAutofit/>
          </a:bodyPr>
          <a:lstStyle>
            <a:lvl1pPr marL="0" indent="0">
              <a:buNone/>
              <a:defRPr sz="1600" b="1" u="none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673AA36E-14CE-4A00-B58D-C097E86D180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63721" y="2089075"/>
            <a:ext cx="2179085" cy="91440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9F19D69B-7C9F-43B8-BB29-FAE059BF158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0360" y="4402466"/>
            <a:ext cx="2179085" cy="438149"/>
          </a:xfrm>
        </p:spPr>
        <p:txBody>
          <a:bodyPr>
            <a:normAutofit/>
          </a:bodyPr>
          <a:lstStyle>
            <a:lvl1pPr marL="0" indent="0">
              <a:buNone/>
              <a:defRPr sz="1600" b="1" u="none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F6B15930-1F72-44DB-9F7D-7D0627A5DB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80360" y="4748323"/>
            <a:ext cx="2179085" cy="91440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486CDB5B-C216-483A-B658-3FDC347F1AA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63721" y="4402466"/>
            <a:ext cx="2179085" cy="438149"/>
          </a:xfrm>
        </p:spPr>
        <p:txBody>
          <a:bodyPr>
            <a:normAutofit/>
          </a:bodyPr>
          <a:lstStyle>
            <a:lvl1pPr marL="0" indent="0">
              <a:buNone/>
              <a:defRPr sz="1600" b="1" u="none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2C96FD4A-4BEA-45A7-AFF2-0E7C41BF6D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63721" y="4748323"/>
            <a:ext cx="2179085" cy="91440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A96019D3-D46F-4431-B42A-E384F373EB7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4903" y="5402026"/>
            <a:ext cx="3677732" cy="787759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416093350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60C10D5-C27F-4171-95DF-0F933F602CBD}"/>
              </a:ext>
            </a:extLst>
          </p:cNvPr>
          <p:cNvSpPr/>
          <p:nvPr userDrawn="1"/>
        </p:nvSpPr>
        <p:spPr>
          <a:xfrm>
            <a:off x="4958862" y="0"/>
            <a:ext cx="7233138" cy="6858000"/>
          </a:xfrm>
          <a:prstGeom prst="rect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0" name="Picture Placeholder 57">
            <a:extLst>
              <a:ext uri="{FF2B5EF4-FFF2-40B4-BE49-F238E27FC236}">
                <a16:creationId xmlns:a16="http://schemas.microsoft.com/office/drawing/2014/main" id="{B4BBACA7-9F75-4CE9-A24A-2231B8A4FC2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572276" y="3982668"/>
            <a:ext cx="2458386" cy="2458387"/>
          </a:xfrm>
          <a:pattFill prst="pct50">
            <a:fgClr>
              <a:schemeClr val="accent1"/>
            </a:fgClr>
            <a:bgClr>
              <a:schemeClr val="bg1"/>
            </a:bgClr>
          </a:pattFill>
          <a:ln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61" name="Picture Placeholder 57">
            <a:extLst>
              <a:ext uri="{FF2B5EF4-FFF2-40B4-BE49-F238E27FC236}">
                <a16:creationId xmlns:a16="http://schemas.microsoft.com/office/drawing/2014/main" id="{0875B8C1-F363-41E1-88F4-4992960081A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679877" y="3982669"/>
            <a:ext cx="2458386" cy="2458387"/>
          </a:xfrm>
          <a:pattFill prst="pct50">
            <a:fgClr>
              <a:schemeClr val="accent1"/>
            </a:fgClr>
            <a:bgClr>
              <a:schemeClr val="bg1"/>
            </a:bgClr>
          </a:pattFill>
          <a:ln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59" name="Picture Placeholder 57">
            <a:extLst>
              <a:ext uri="{FF2B5EF4-FFF2-40B4-BE49-F238E27FC236}">
                <a16:creationId xmlns:a16="http://schemas.microsoft.com/office/drawing/2014/main" id="{45997F44-5239-4523-A148-7642D5F303D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572276" y="762141"/>
            <a:ext cx="2458386" cy="2458387"/>
          </a:xfrm>
          <a:pattFill prst="pct50">
            <a:fgClr>
              <a:schemeClr val="accent1"/>
            </a:fgClr>
            <a:bgClr>
              <a:schemeClr val="bg1"/>
            </a:bgClr>
          </a:pattFill>
          <a:ln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759AB2B8-1D75-40B8-8646-73B0669C4E9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679877" y="762142"/>
            <a:ext cx="2458386" cy="2458387"/>
          </a:xfrm>
          <a:pattFill prst="pct50">
            <a:fgClr>
              <a:schemeClr val="accent1"/>
            </a:fgClr>
            <a:bgClr>
              <a:schemeClr val="bg1"/>
            </a:bgClr>
          </a:pattFill>
          <a:ln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F95F7B8D-5898-4A7F-86F7-D39A41ADF6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4115" y="2573666"/>
            <a:ext cx="3668519" cy="872919"/>
          </a:xfrm>
        </p:spPr>
        <p:txBody>
          <a:bodyPr>
            <a:normAutofit/>
          </a:bodyPr>
          <a:lstStyle>
            <a:lvl1pPr marL="0" indent="0" algn="l">
              <a:buNone/>
              <a:defRPr sz="3600" u="sng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F4C0B81D-7377-4DC8-84B0-5E4FF6D6DC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4903" y="3573226"/>
            <a:ext cx="3677732" cy="787759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E082D270-9DE2-4D04-9E95-6FB2A3AC6D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89134" y="1837568"/>
            <a:ext cx="1839872" cy="438149"/>
          </a:xfrm>
        </p:spPr>
        <p:txBody>
          <a:bodyPr>
            <a:normAutofit/>
          </a:bodyPr>
          <a:lstStyle>
            <a:lvl1pPr marL="0" indent="0" algn="ctr">
              <a:buNone/>
              <a:defRPr sz="1400" spc="6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8FC7E68-C6E2-4537-8841-95DA647B5EC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81533" y="1819931"/>
            <a:ext cx="1839872" cy="438149"/>
          </a:xfrm>
        </p:spPr>
        <p:txBody>
          <a:bodyPr>
            <a:normAutofit/>
          </a:bodyPr>
          <a:lstStyle>
            <a:lvl1pPr marL="0" indent="0" algn="ctr">
              <a:buNone/>
              <a:defRPr sz="1400" spc="6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17F0D36C-055B-4A84-BDAF-C12687A21ED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89134" y="4972197"/>
            <a:ext cx="1839872" cy="438149"/>
          </a:xfrm>
        </p:spPr>
        <p:txBody>
          <a:bodyPr>
            <a:normAutofit/>
          </a:bodyPr>
          <a:lstStyle>
            <a:lvl1pPr marL="0" indent="0" algn="ctr">
              <a:buNone/>
              <a:defRPr sz="1400" spc="6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117617A0-A5B4-4A86-B3E6-DEC25BAA22A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881533" y="4954560"/>
            <a:ext cx="1839872" cy="438149"/>
          </a:xfrm>
        </p:spPr>
        <p:txBody>
          <a:bodyPr>
            <a:normAutofit/>
          </a:bodyPr>
          <a:lstStyle>
            <a:lvl1pPr marL="0" indent="0" algn="ctr">
              <a:buNone/>
              <a:defRPr sz="1400" spc="6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AD80EE8-93C6-4ABF-BE80-9110B44993C7}"/>
              </a:ext>
            </a:extLst>
          </p:cNvPr>
          <p:cNvGrpSpPr/>
          <p:nvPr userDrawn="1"/>
        </p:nvGrpSpPr>
        <p:grpSpPr>
          <a:xfrm>
            <a:off x="701888" y="-2039616"/>
            <a:ext cx="942109" cy="4219541"/>
            <a:chOff x="6471577" y="-492936"/>
            <a:chExt cx="862012" cy="3860801"/>
          </a:xfrm>
        </p:grpSpPr>
        <p:sp>
          <p:nvSpPr>
            <p:cNvPr id="21" name="Oval 98">
              <a:extLst>
                <a:ext uri="{FF2B5EF4-FFF2-40B4-BE49-F238E27FC236}">
                  <a16:creationId xmlns:a16="http://schemas.microsoft.com/office/drawing/2014/main" id="{CB56D70A-B656-4D0D-A343-3E475B2F176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317101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99">
              <a:extLst>
                <a:ext uri="{FF2B5EF4-FFF2-40B4-BE49-F238E27FC236}">
                  <a16:creationId xmlns:a16="http://schemas.microsoft.com/office/drawing/2014/main" id="{527FBAB3-9405-4618-AC04-7355AEC5211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2837640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100">
              <a:extLst>
                <a:ext uri="{FF2B5EF4-FFF2-40B4-BE49-F238E27FC236}">
                  <a16:creationId xmlns:a16="http://schemas.microsoft.com/office/drawing/2014/main" id="{D314E21E-9719-4B1F-A1DF-724BE0FA7D4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250426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101">
              <a:extLst>
                <a:ext uri="{FF2B5EF4-FFF2-40B4-BE49-F238E27FC236}">
                  <a16:creationId xmlns:a16="http://schemas.microsoft.com/office/drawing/2014/main" id="{868A4560-A34F-4A49-A368-E5F705A06D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217247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102">
              <a:extLst>
                <a:ext uri="{FF2B5EF4-FFF2-40B4-BE49-F238E27FC236}">
                  <a16:creationId xmlns:a16="http://schemas.microsoft.com/office/drawing/2014/main" id="{3D76443E-EEF8-4406-BA8A-8B8E92F1122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839102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Oval 103">
              <a:extLst>
                <a:ext uri="{FF2B5EF4-FFF2-40B4-BE49-F238E27FC236}">
                  <a16:creationId xmlns:a16="http://schemas.microsoft.com/office/drawing/2014/main" id="{3EF966A5-818F-4CAB-8554-42A4A81BA9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50572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104">
              <a:extLst>
                <a:ext uri="{FF2B5EF4-FFF2-40B4-BE49-F238E27FC236}">
                  <a16:creationId xmlns:a16="http://schemas.microsoft.com/office/drawing/2014/main" id="{CBB10FD6-8B41-451B-90C8-CD9F9BE6C4A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17235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105">
              <a:extLst>
                <a:ext uri="{FF2B5EF4-FFF2-40B4-BE49-F238E27FC236}">
                  <a16:creationId xmlns:a16="http://schemas.microsoft.com/office/drawing/2014/main" id="{AC16BCF8-57C4-4690-8119-51D4A8C6EE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838977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106">
              <a:extLst>
                <a:ext uri="{FF2B5EF4-FFF2-40B4-BE49-F238E27FC236}">
                  <a16:creationId xmlns:a16="http://schemas.microsoft.com/office/drawing/2014/main" id="{F2F09CC1-08AA-41DB-8430-5346458F79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50560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107">
              <a:extLst>
                <a:ext uri="{FF2B5EF4-FFF2-40B4-BE49-F238E27FC236}">
                  <a16:creationId xmlns:a16="http://schemas.microsoft.com/office/drawing/2014/main" id="{05D0BF25-89C5-4D99-942B-95868FEF72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73815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108">
              <a:extLst>
                <a:ext uri="{FF2B5EF4-FFF2-40B4-BE49-F238E27FC236}">
                  <a16:creationId xmlns:a16="http://schemas.microsoft.com/office/drawing/2014/main" id="{9495D118-E0FF-4EC1-9764-4FDEA5E3F8F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-159560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109">
              <a:extLst>
                <a:ext uri="{FF2B5EF4-FFF2-40B4-BE49-F238E27FC236}">
                  <a16:creationId xmlns:a16="http://schemas.microsoft.com/office/drawing/2014/main" id="{9657A1D9-E819-4439-BA5E-08777D7FF9B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-492936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119">
              <a:extLst>
                <a:ext uri="{FF2B5EF4-FFF2-40B4-BE49-F238E27FC236}">
                  <a16:creationId xmlns:a16="http://schemas.microsoft.com/office/drawing/2014/main" id="{85293FAA-B049-4E3C-BA11-6FC3788CAA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3171015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120">
              <a:extLst>
                <a:ext uri="{FF2B5EF4-FFF2-40B4-BE49-F238E27FC236}">
                  <a16:creationId xmlns:a16="http://schemas.microsoft.com/office/drawing/2014/main" id="{AB42C12A-A67D-4742-9FB3-636BE467E3B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2837640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121">
              <a:extLst>
                <a:ext uri="{FF2B5EF4-FFF2-40B4-BE49-F238E27FC236}">
                  <a16:creationId xmlns:a16="http://schemas.microsoft.com/office/drawing/2014/main" id="{6C14573F-45EA-47F1-9AA2-6DC2CE33BF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2504265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122">
              <a:extLst>
                <a:ext uri="{FF2B5EF4-FFF2-40B4-BE49-F238E27FC236}">
                  <a16:creationId xmlns:a16="http://schemas.microsoft.com/office/drawing/2014/main" id="{612CDEF2-E9EA-4AAA-ACA1-59515FA4B0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2172477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123">
              <a:extLst>
                <a:ext uri="{FF2B5EF4-FFF2-40B4-BE49-F238E27FC236}">
                  <a16:creationId xmlns:a16="http://schemas.microsoft.com/office/drawing/2014/main" id="{B0B1EE46-1F2E-4455-9578-4D4EEE14B26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839102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124">
              <a:extLst>
                <a:ext uri="{FF2B5EF4-FFF2-40B4-BE49-F238E27FC236}">
                  <a16:creationId xmlns:a16="http://schemas.microsoft.com/office/drawing/2014/main" id="{28009F8C-5188-4F77-ACDF-8482ED1D8C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505727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125">
              <a:extLst>
                <a:ext uri="{FF2B5EF4-FFF2-40B4-BE49-F238E27FC236}">
                  <a16:creationId xmlns:a16="http://schemas.microsoft.com/office/drawing/2014/main" id="{2A4C5CF7-74E6-47B1-933E-DD862098D55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172352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126">
              <a:extLst>
                <a:ext uri="{FF2B5EF4-FFF2-40B4-BE49-F238E27FC236}">
                  <a16:creationId xmlns:a16="http://schemas.microsoft.com/office/drawing/2014/main" id="{4F4FF71C-1874-47A8-A1C5-D3B6717965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838977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127">
              <a:extLst>
                <a:ext uri="{FF2B5EF4-FFF2-40B4-BE49-F238E27FC236}">
                  <a16:creationId xmlns:a16="http://schemas.microsoft.com/office/drawing/2014/main" id="{20679BBA-55BE-4C3B-AEC7-118DDA6B70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505602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128">
              <a:extLst>
                <a:ext uri="{FF2B5EF4-FFF2-40B4-BE49-F238E27FC236}">
                  <a16:creationId xmlns:a16="http://schemas.microsoft.com/office/drawing/2014/main" id="{91441A6B-4FC3-4E3E-B55B-1105F6AD63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73815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Oval 129">
              <a:extLst>
                <a:ext uri="{FF2B5EF4-FFF2-40B4-BE49-F238E27FC236}">
                  <a16:creationId xmlns:a16="http://schemas.microsoft.com/office/drawing/2014/main" id="{CF789DFC-BAD2-4EAD-ACFC-318486535B9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-159560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Oval 130">
              <a:extLst>
                <a:ext uri="{FF2B5EF4-FFF2-40B4-BE49-F238E27FC236}">
                  <a16:creationId xmlns:a16="http://schemas.microsoft.com/office/drawing/2014/main" id="{E0178454-4E64-494A-A504-F0AB702E5A8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-492936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Oval 140">
              <a:extLst>
                <a:ext uri="{FF2B5EF4-FFF2-40B4-BE49-F238E27FC236}">
                  <a16:creationId xmlns:a16="http://schemas.microsoft.com/office/drawing/2014/main" id="{009F1677-9CAC-48D4-BF63-0F2045F4D8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317101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Oval 141">
              <a:extLst>
                <a:ext uri="{FF2B5EF4-FFF2-40B4-BE49-F238E27FC236}">
                  <a16:creationId xmlns:a16="http://schemas.microsoft.com/office/drawing/2014/main" id="{8F447652-DBAD-4844-A8C0-33DD1902B58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2837640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Oval 142">
              <a:extLst>
                <a:ext uri="{FF2B5EF4-FFF2-40B4-BE49-F238E27FC236}">
                  <a16:creationId xmlns:a16="http://schemas.microsoft.com/office/drawing/2014/main" id="{7A76A7FB-C33D-4227-997B-45D8ED5BCD3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250426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Oval 143">
              <a:extLst>
                <a:ext uri="{FF2B5EF4-FFF2-40B4-BE49-F238E27FC236}">
                  <a16:creationId xmlns:a16="http://schemas.microsoft.com/office/drawing/2014/main" id="{E16CEAC7-3592-4FF6-BAFD-0E344904E3F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217247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Oval 144">
              <a:extLst>
                <a:ext uri="{FF2B5EF4-FFF2-40B4-BE49-F238E27FC236}">
                  <a16:creationId xmlns:a16="http://schemas.microsoft.com/office/drawing/2014/main" id="{3A7090D8-54E1-4E8B-8ED5-B56072EF16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839102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Oval 145">
              <a:extLst>
                <a:ext uri="{FF2B5EF4-FFF2-40B4-BE49-F238E27FC236}">
                  <a16:creationId xmlns:a16="http://schemas.microsoft.com/office/drawing/2014/main" id="{A70EBCE6-171B-4169-8C45-C176574034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50572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Oval 146">
              <a:extLst>
                <a:ext uri="{FF2B5EF4-FFF2-40B4-BE49-F238E27FC236}">
                  <a16:creationId xmlns:a16="http://schemas.microsoft.com/office/drawing/2014/main" id="{F5BC3095-7694-48B8-AECD-F2E04287B1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17235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Oval 147">
              <a:extLst>
                <a:ext uri="{FF2B5EF4-FFF2-40B4-BE49-F238E27FC236}">
                  <a16:creationId xmlns:a16="http://schemas.microsoft.com/office/drawing/2014/main" id="{A2C143E6-22D7-406B-AF36-C9F57EE2C5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838977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Oval 148">
              <a:extLst>
                <a:ext uri="{FF2B5EF4-FFF2-40B4-BE49-F238E27FC236}">
                  <a16:creationId xmlns:a16="http://schemas.microsoft.com/office/drawing/2014/main" id="{175542D9-5C72-49BA-948D-3E4C1F69EB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50560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Oval 149">
              <a:extLst>
                <a:ext uri="{FF2B5EF4-FFF2-40B4-BE49-F238E27FC236}">
                  <a16:creationId xmlns:a16="http://schemas.microsoft.com/office/drawing/2014/main" id="{B5BDDDE3-FBE4-41F0-BCD8-B3D5225EBAD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73815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Oval 150">
              <a:extLst>
                <a:ext uri="{FF2B5EF4-FFF2-40B4-BE49-F238E27FC236}">
                  <a16:creationId xmlns:a16="http://schemas.microsoft.com/office/drawing/2014/main" id="{C9051E78-3F48-46CF-9793-7E8BB8E57A7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-159560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Oval 151">
              <a:extLst>
                <a:ext uri="{FF2B5EF4-FFF2-40B4-BE49-F238E27FC236}">
                  <a16:creationId xmlns:a16="http://schemas.microsoft.com/office/drawing/2014/main" id="{4281D50F-BCE8-43A3-96AC-9D377F9A4F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-492936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79006549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0B97555-C9F8-4770-A54E-F0125105E456}"/>
              </a:ext>
            </a:extLst>
          </p:cNvPr>
          <p:cNvSpPr/>
          <p:nvPr userDrawn="1"/>
        </p:nvSpPr>
        <p:spPr>
          <a:xfrm>
            <a:off x="9655026" y="3647796"/>
            <a:ext cx="1656298" cy="165629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643C896-22A9-45F0-9F77-00C29085BBCA}"/>
              </a:ext>
            </a:extLst>
          </p:cNvPr>
          <p:cNvSpPr/>
          <p:nvPr userDrawn="1"/>
        </p:nvSpPr>
        <p:spPr>
          <a:xfrm>
            <a:off x="5922840" y="3647796"/>
            <a:ext cx="1656298" cy="165629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C32523B7-0617-4A97-BCCC-96E4B6D0FE2B}"/>
              </a:ext>
            </a:extLst>
          </p:cNvPr>
          <p:cNvSpPr/>
          <p:nvPr userDrawn="1"/>
        </p:nvSpPr>
        <p:spPr>
          <a:xfrm>
            <a:off x="9655026" y="1353829"/>
            <a:ext cx="1656298" cy="165629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33B5920-30FA-4ECF-9262-2AB8BE5BA4F5}"/>
              </a:ext>
            </a:extLst>
          </p:cNvPr>
          <p:cNvSpPr/>
          <p:nvPr userDrawn="1"/>
        </p:nvSpPr>
        <p:spPr>
          <a:xfrm>
            <a:off x="5922840" y="1353829"/>
            <a:ext cx="1656298" cy="165629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2B77FD13-8100-4E15-8801-1852FDEC37D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4115" y="1352067"/>
            <a:ext cx="4716350" cy="872919"/>
          </a:xfrm>
        </p:spPr>
        <p:txBody>
          <a:bodyPr>
            <a:normAutofit/>
          </a:bodyPr>
          <a:lstStyle>
            <a:lvl1pPr marL="0" indent="0" algn="l">
              <a:buNone/>
              <a:defRPr sz="2800" u="none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235B52E-9B0B-426F-93B4-9F7E1536BB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4903" y="2351627"/>
            <a:ext cx="4728194" cy="787759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D27097D-44A5-4609-AA06-545F24467D99}"/>
              </a:ext>
            </a:extLst>
          </p:cNvPr>
          <p:cNvSpPr/>
          <p:nvPr userDrawn="1"/>
        </p:nvSpPr>
        <p:spPr>
          <a:xfrm>
            <a:off x="7066638" y="1788527"/>
            <a:ext cx="3057994" cy="3057994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F991CF4-4716-46D9-B02B-EE04270D0FA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92494" y="2985795"/>
            <a:ext cx="1962532" cy="774401"/>
          </a:xfrm>
        </p:spPr>
        <p:txBody>
          <a:bodyPr>
            <a:normAutofit/>
          </a:bodyPr>
          <a:lstStyle>
            <a:lvl1pPr marL="0" indent="0" algn="ctr">
              <a:buNone/>
              <a:defRPr sz="1800" b="1" spc="3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30F3ECF2-1D60-437A-B673-A6392328867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7162" y="3414339"/>
            <a:ext cx="2243329" cy="438149"/>
          </a:xfrm>
        </p:spPr>
        <p:txBody>
          <a:bodyPr>
            <a:normAutofit/>
          </a:bodyPr>
          <a:lstStyle>
            <a:lvl1pPr marL="0" indent="0">
              <a:buNone/>
              <a:defRPr sz="1600" b="1" u="none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B14D5B14-3D02-4BDD-9A4C-360148E47F6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7162" y="3760196"/>
            <a:ext cx="2243329" cy="91440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65ADCFFA-0DA9-4790-A2AA-5390DDB45D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42027" y="3414339"/>
            <a:ext cx="2243329" cy="438149"/>
          </a:xfrm>
        </p:spPr>
        <p:txBody>
          <a:bodyPr>
            <a:normAutofit/>
          </a:bodyPr>
          <a:lstStyle>
            <a:lvl1pPr marL="0" indent="0">
              <a:buNone/>
              <a:defRPr sz="1600" b="1" u="none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693806CB-D55F-4311-A443-5B293D9763A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42027" y="3760196"/>
            <a:ext cx="2243329" cy="91440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82D95181-8F7C-4F2F-853E-150FA3B747D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5963" y="4858917"/>
            <a:ext cx="2243329" cy="438149"/>
          </a:xfrm>
        </p:spPr>
        <p:txBody>
          <a:bodyPr>
            <a:normAutofit/>
          </a:bodyPr>
          <a:lstStyle>
            <a:lvl1pPr marL="0" indent="0">
              <a:buNone/>
              <a:defRPr sz="1600" b="1" u="none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54A2FE86-11F6-47EA-9638-BC70BCD19A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45963" y="5204774"/>
            <a:ext cx="2243329" cy="91440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CAEF8F69-4A5F-401F-B916-17DBCCC9264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030828" y="4858917"/>
            <a:ext cx="2243329" cy="438149"/>
          </a:xfrm>
        </p:spPr>
        <p:txBody>
          <a:bodyPr>
            <a:normAutofit/>
          </a:bodyPr>
          <a:lstStyle>
            <a:lvl1pPr marL="0" indent="0">
              <a:buNone/>
              <a:defRPr sz="1600" b="1" u="none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B5C98B22-D8DF-44A1-A6FF-E4CAF69B85B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030828" y="5204774"/>
            <a:ext cx="2243329" cy="91440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886413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1C00983F-C62F-44DE-B92F-3F4EF8B34374}"/>
              </a:ext>
            </a:extLst>
          </p:cNvPr>
          <p:cNvSpPr/>
          <p:nvPr userDrawn="1"/>
        </p:nvSpPr>
        <p:spPr>
          <a:xfrm>
            <a:off x="-633046" y="-1617784"/>
            <a:ext cx="6189785" cy="6189785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C239689-6BEF-4518-9BBC-50E2183EAD9C}"/>
              </a:ext>
            </a:extLst>
          </p:cNvPr>
          <p:cNvSpPr/>
          <p:nvPr userDrawn="1"/>
        </p:nvSpPr>
        <p:spPr>
          <a:xfrm>
            <a:off x="10797856" y="5966925"/>
            <a:ext cx="2440752" cy="2440752"/>
          </a:xfrm>
          <a:prstGeom prst="ellipse">
            <a:avLst/>
          </a:prstGeom>
          <a:solidFill>
            <a:schemeClr val="tx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1489E74-A8FD-40DC-B314-7A2C69853EA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5788" y="656492"/>
            <a:ext cx="5533658" cy="6201508"/>
          </a:xfrm>
          <a:noFill/>
        </p:spPr>
        <p:txBody>
          <a:bodyPr/>
          <a:lstStyle/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13B0C7E-22F5-40F1-BDEA-D8E5A457B7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9446" y="3490363"/>
            <a:ext cx="4572000" cy="1238281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0B08576D-91B1-4C70-B2C0-7DD4ACF74E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19446" y="4728644"/>
            <a:ext cx="4572000" cy="1238281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14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063CD6F8-C695-40A7-B7BB-C807DBC7F9B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0162562" y="66990"/>
            <a:ext cx="1855670" cy="328246"/>
          </a:xfrm>
        </p:spPr>
        <p:txBody>
          <a:bodyPr/>
          <a:lstStyle>
            <a:lvl1pPr algn="r">
              <a:defRPr sz="1000" b="1"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2C6E18F6-28ED-4262-8BD3-1490763E1FF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275032" y="6424246"/>
            <a:ext cx="2743200" cy="433754"/>
          </a:xfrm>
        </p:spPr>
        <p:txBody>
          <a:bodyPr/>
          <a:lstStyle>
            <a:lvl1pPr>
              <a:defRPr sz="800" b="1"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22588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4826D67-F559-4551-85D9-5DD97242B304}"/>
              </a:ext>
            </a:extLst>
          </p:cNvPr>
          <p:cNvSpPr/>
          <p:nvPr userDrawn="1"/>
        </p:nvSpPr>
        <p:spPr>
          <a:xfrm>
            <a:off x="4153854" y="3344575"/>
            <a:ext cx="2266060" cy="2266058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DD08BB9-C5FF-45AC-934B-FA4D3FE41C35}"/>
              </a:ext>
            </a:extLst>
          </p:cNvPr>
          <p:cNvSpPr/>
          <p:nvPr userDrawn="1"/>
        </p:nvSpPr>
        <p:spPr>
          <a:xfrm>
            <a:off x="867508" y="886976"/>
            <a:ext cx="2266060" cy="2266058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35917E00-1EDA-454F-AB3E-2EC5E3D6B8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8960" y="2200215"/>
            <a:ext cx="4675632" cy="791547"/>
          </a:xfrm>
        </p:spPr>
        <p:txBody>
          <a:bodyPr>
            <a:normAutofit/>
          </a:bodyPr>
          <a:lstStyle>
            <a:lvl1pPr marL="0" indent="0" algn="l">
              <a:buNone/>
              <a:defRPr sz="20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2FC826F8-1D2B-492B-93B2-51AA3A5287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8959" y="3022323"/>
            <a:ext cx="4675633" cy="1455281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DD16FF4-4C9D-4BB7-BF39-A75A5B4A67EA}"/>
              </a:ext>
            </a:extLst>
          </p:cNvPr>
          <p:cNvSpPr/>
          <p:nvPr userDrawn="1"/>
        </p:nvSpPr>
        <p:spPr>
          <a:xfrm>
            <a:off x="2228890" y="1483592"/>
            <a:ext cx="3057994" cy="3057994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B6F29347-6808-43E8-97FC-09729B8F3C3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960528" y="2541283"/>
            <a:ext cx="1629556" cy="438149"/>
          </a:xfrm>
        </p:spPr>
        <p:txBody>
          <a:bodyPr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489BC05-4E66-4895-ADBD-D575210AC24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18959" y="4626864"/>
            <a:ext cx="2243329" cy="438149"/>
          </a:xfrm>
        </p:spPr>
        <p:txBody>
          <a:bodyPr>
            <a:normAutofit/>
          </a:bodyPr>
          <a:lstStyle>
            <a:lvl1pPr marL="0" indent="0">
              <a:buNone/>
              <a:defRPr sz="1600" b="1" u="none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D3E95CB2-3F14-4D2F-B085-4CE22E3FEC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8959" y="4972721"/>
            <a:ext cx="2243329" cy="91440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8878C80D-EF30-4AA7-A122-EF2F2810D6F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51263" y="4627446"/>
            <a:ext cx="2243329" cy="438149"/>
          </a:xfrm>
        </p:spPr>
        <p:txBody>
          <a:bodyPr>
            <a:normAutofit/>
          </a:bodyPr>
          <a:lstStyle>
            <a:lvl1pPr marL="0" indent="0">
              <a:buNone/>
              <a:defRPr sz="1600" b="1" u="none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3454EFA3-3F42-49C7-B210-E2EE8C0522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51263" y="4973303"/>
            <a:ext cx="2243329" cy="91440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C8F94009-942C-4A15-9A22-D6E6E5B4561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8774" y="4037123"/>
            <a:ext cx="2446854" cy="1688839"/>
          </a:xfrm>
        </p:spPr>
        <p:txBody>
          <a:bodyPr>
            <a:normAutofit/>
          </a:bodyPr>
          <a:lstStyle>
            <a:lvl1pPr marL="0" indent="0" algn="l">
              <a:buNone/>
              <a:defRPr sz="3600" u="none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5189824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1A83BCF7-4169-4067-AEC6-9854FD488AEC}"/>
              </a:ext>
            </a:extLst>
          </p:cNvPr>
          <p:cNvGrpSpPr/>
          <p:nvPr userDrawn="1"/>
        </p:nvGrpSpPr>
        <p:grpSpPr>
          <a:xfrm>
            <a:off x="7526508" y="1744946"/>
            <a:ext cx="3490837" cy="1271018"/>
            <a:chOff x="2450892" y="-2011841"/>
            <a:chExt cx="3490837" cy="1271018"/>
          </a:xfrm>
          <a:solidFill>
            <a:srgbClr val="00B0F0"/>
          </a:solidFill>
        </p:grpSpPr>
        <p:sp>
          <p:nvSpPr>
            <p:cNvPr id="19" name="Oval 98">
              <a:extLst>
                <a:ext uri="{FF2B5EF4-FFF2-40B4-BE49-F238E27FC236}">
                  <a16:creationId xmlns:a16="http://schemas.microsoft.com/office/drawing/2014/main" id="{D77AF667-A072-4FAF-B716-0832A13717E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450892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Oval 99">
              <a:extLst>
                <a:ext uri="{FF2B5EF4-FFF2-40B4-BE49-F238E27FC236}">
                  <a16:creationId xmlns:a16="http://schemas.microsoft.com/office/drawing/2014/main" id="{815D494B-9EA7-4FC8-BB4A-E507DCE4F2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815244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100">
              <a:extLst>
                <a:ext uri="{FF2B5EF4-FFF2-40B4-BE49-F238E27FC236}">
                  <a16:creationId xmlns:a16="http://schemas.microsoft.com/office/drawing/2014/main" id="{2BEDAFA1-AA81-491F-BF30-BD6AEED640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179595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102">
              <a:extLst>
                <a:ext uri="{FF2B5EF4-FFF2-40B4-BE49-F238E27FC236}">
                  <a16:creationId xmlns:a16="http://schemas.microsoft.com/office/drawing/2014/main" id="{065F1F87-3CE0-40D9-AF61-DED662790D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907432" y="-1284006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103">
              <a:extLst>
                <a:ext uri="{FF2B5EF4-FFF2-40B4-BE49-F238E27FC236}">
                  <a16:creationId xmlns:a16="http://schemas.microsoft.com/office/drawing/2014/main" id="{ACB51536-AB2D-4E1E-AD92-B7778F18A1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271783" y="-1284006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104">
              <a:extLst>
                <a:ext uri="{FF2B5EF4-FFF2-40B4-BE49-F238E27FC236}">
                  <a16:creationId xmlns:a16="http://schemas.microsoft.com/office/drawing/2014/main" id="{5EBA8830-630C-4F03-B721-35ECBAB1C32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635268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105">
              <a:extLst>
                <a:ext uri="{FF2B5EF4-FFF2-40B4-BE49-F238E27FC236}">
                  <a16:creationId xmlns:a16="http://schemas.microsoft.com/office/drawing/2014/main" id="{68342D74-49EE-434C-8D4D-E507DD29437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999620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Oval 106">
              <a:extLst>
                <a:ext uri="{FF2B5EF4-FFF2-40B4-BE49-F238E27FC236}">
                  <a16:creationId xmlns:a16="http://schemas.microsoft.com/office/drawing/2014/main" id="{C3D5E1E1-89BE-4C36-B27E-818BFDD6575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363971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119">
              <a:extLst>
                <a:ext uri="{FF2B5EF4-FFF2-40B4-BE49-F238E27FC236}">
                  <a16:creationId xmlns:a16="http://schemas.microsoft.com/office/drawing/2014/main" id="{DB677123-67B3-4462-9F70-166D93594A6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451759" y="-1648356"/>
              <a:ext cx="213407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120">
              <a:extLst>
                <a:ext uri="{FF2B5EF4-FFF2-40B4-BE49-F238E27FC236}">
                  <a16:creationId xmlns:a16="http://schemas.microsoft.com/office/drawing/2014/main" id="{905B3E51-DC5E-4C62-A60B-7239476AD5A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816111" y="-1648356"/>
              <a:ext cx="213407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121">
              <a:extLst>
                <a:ext uri="{FF2B5EF4-FFF2-40B4-BE49-F238E27FC236}">
                  <a16:creationId xmlns:a16="http://schemas.microsoft.com/office/drawing/2014/main" id="{216B31A5-F519-45C9-B608-2F5328D3D7F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180463" y="-1648356"/>
              <a:ext cx="213407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122">
              <a:extLst>
                <a:ext uri="{FF2B5EF4-FFF2-40B4-BE49-F238E27FC236}">
                  <a16:creationId xmlns:a16="http://schemas.microsoft.com/office/drawing/2014/main" id="{A48FA511-447F-4514-97A8-2C6040395A9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543947" y="-1647489"/>
              <a:ext cx="213407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123">
              <a:extLst>
                <a:ext uri="{FF2B5EF4-FFF2-40B4-BE49-F238E27FC236}">
                  <a16:creationId xmlns:a16="http://schemas.microsoft.com/office/drawing/2014/main" id="{1CD21A2B-CCD1-47A1-B4AC-BE3FEF9124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908299" y="-1647489"/>
              <a:ext cx="213407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124">
              <a:extLst>
                <a:ext uri="{FF2B5EF4-FFF2-40B4-BE49-F238E27FC236}">
                  <a16:creationId xmlns:a16="http://schemas.microsoft.com/office/drawing/2014/main" id="{07F77121-4CEE-4FC9-A568-2E7AE1A80A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272651" y="-1647489"/>
              <a:ext cx="213407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126">
              <a:extLst>
                <a:ext uri="{FF2B5EF4-FFF2-40B4-BE49-F238E27FC236}">
                  <a16:creationId xmlns:a16="http://schemas.microsoft.com/office/drawing/2014/main" id="{F2DFDC98-15ED-42F5-B5A8-04B343A42F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000487" y="-1648356"/>
              <a:ext cx="213407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128">
              <a:extLst>
                <a:ext uri="{FF2B5EF4-FFF2-40B4-BE49-F238E27FC236}">
                  <a16:creationId xmlns:a16="http://schemas.microsoft.com/office/drawing/2014/main" id="{A644B29B-A90A-4282-803F-3D414B4FD5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728322" y="-1647489"/>
              <a:ext cx="213407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140">
              <a:extLst>
                <a:ext uri="{FF2B5EF4-FFF2-40B4-BE49-F238E27FC236}">
                  <a16:creationId xmlns:a16="http://schemas.microsoft.com/office/drawing/2014/main" id="{E3ED7980-A3D4-4164-BD4A-165E398C60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450892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141">
              <a:extLst>
                <a:ext uri="{FF2B5EF4-FFF2-40B4-BE49-F238E27FC236}">
                  <a16:creationId xmlns:a16="http://schemas.microsoft.com/office/drawing/2014/main" id="{16572CAD-597D-4013-8CA7-0211CA99758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815244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142">
              <a:extLst>
                <a:ext uri="{FF2B5EF4-FFF2-40B4-BE49-F238E27FC236}">
                  <a16:creationId xmlns:a16="http://schemas.microsoft.com/office/drawing/2014/main" id="{938A2A23-3866-43DE-9617-2980A8A420F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179595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143">
              <a:extLst>
                <a:ext uri="{FF2B5EF4-FFF2-40B4-BE49-F238E27FC236}">
                  <a16:creationId xmlns:a16="http://schemas.microsoft.com/office/drawing/2014/main" id="{8FB5FE76-63DB-46B6-83AE-4752F03606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543080" y="-2010974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144">
              <a:extLst>
                <a:ext uri="{FF2B5EF4-FFF2-40B4-BE49-F238E27FC236}">
                  <a16:creationId xmlns:a16="http://schemas.microsoft.com/office/drawing/2014/main" id="{1518FA2F-EC77-4DD9-A0DE-7D6AC3353C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907432" y="-2010974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145">
              <a:extLst>
                <a:ext uri="{FF2B5EF4-FFF2-40B4-BE49-F238E27FC236}">
                  <a16:creationId xmlns:a16="http://schemas.microsoft.com/office/drawing/2014/main" id="{7AF3DD74-6F0D-44EE-A68E-C6EC3884D3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271783" y="-2010974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146">
              <a:extLst>
                <a:ext uri="{FF2B5EF4-FFF2-40B4-BE49-F238E27FC236}">
                  <a16:creationId xmlns:a16="http://schemas.microsoft.com/office/drawing/2014/main" id="{69C1AC03-335B-47C7-904D-4CB2C7125F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635268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147">
              <a:extLst>
                <a:ext uri="{FF2B5EF4-FFF2-40B4-BE49-F238E27FC236}">
                  <a16:creationId xmlns:a16="http://schemas.microsoft.com/office/drawing/2014/main" id="{8EA715EB-EDFD-48E7-A71E-79BB244F741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999620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Oval 148">
              <a:extLst>
                <a:ext uri="{FF2B5EF4-FFF2-40B4-BE49-F238E27FC236}">
                  <a16:creationId xmlns:a16="http://schemas.microsoft.com/office/drawing/2014/main" id="{726B5C04-9E6F-442E-BE17-7511CEBEA91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363971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Oval 140">
              <a:extLst>
                <a:ext uri="{FF2B5EF4-FFF2-40B4-BE49-F238E27FC236}">
                  <a16:creationId xmlns:a16="http://schemas.microsoft.com/office/drawing/2014/main" id="{691E3ABB-8BCD-4288-8D4E-744FFDB46CD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450892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Oval 141">
              <a:extLst>
                <a:ext uri="{FF2B5EF4-FFF2-40B4-BE49-F238E27FC236}">
                  <a16:creationId xmlns:a16="http://schemas.microsoft.com/office/drawing/2014/main" id="{7A4F1EDB-6AF6-44B4-A0DB-A2648DDD7C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815244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Oval 142">
              <a:extLst>
                <a:ext uri="{FF2B5EF4-FFF2-40B4-BE49-F238E27FC236}">
                  <a16:creationId xmlns:a16="http://schemas.microsoft.com/office/drawing/2014/main" id="{67CAA313-BEE5-45B1-8E12-83DD4A2B62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179595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Oval 143">
              <a:extLst>
                <a:ext uri="{FF2B5EF4-FFF2-40B4-BE49-F238E27FC236}">
                  <a16:creationId xmlns:a16="http://schemas.microsoft.com/office/drawing/2014/main" id="{17F29343-FFD2-4A60-8742-42085A13F4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543080" y="-955097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Oval 144">
              <a:extLst>
                <a:ext uri="{FF2B5EF4-FFF2-40B4-BE49-F238E27FC236}">
                  <a16:creationId xmlns:a16="http://schemas.microsoft.com/office/drawing/2014/main" id="{5A6879A4-9FB5-4577-8826-8775B3B736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907432" y="-955097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Oval 145">
              <a:extLst>
                <a:ext uri="{FF2B5EF4-FFF2-40B4-BE49-F238E27FC236}">
                  <a16:creationId xmlns:a16="http://schemas.microsoft.com/office/drawing/2014/main" id="{3EF50849-B179-4680-BBBF-2E50B25C9AC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271783" y="-955097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Oval 146">
              <a:extLst>
                <a:ext uri="{FF2B5EF4-FFF2-40B4-BE49-F238E27FC236}">
                  <a16:creationId xmlns:a16="http://schemas.microsoft.com/office/drawing/2014/main" id="{7E7E92EA-1451-4A6D-ABA5-85C6D2ECF3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635268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Oval 148">
              <a:extLst>
                <a:ext uri="{FF2B5EF4-FFF2-40B4-BE49-F238E27FC236}">
                  <a16:creationId xmlns:a16="http://schemas.microsoft.com/office/drawing/2014/main" id="{2DF28635-86C4-40D4-874D-A2D87915A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363971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Oval 149">
              <a:extLst>
                <a:ext uri="{FF2B5EF4-FFF2-40B4-BE49-F238E27FC236}">
                  <a16:creationId xmlns:a16="http://schemas.microsoft.com/office/drawing/2014/main" id="{202E9635-EC07-4FDF-B58C-F8974FE6B7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727455" y="-955097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B3D80E7-3A1C-4B59-8566-7EAC7AAF84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135086"/>
            <a:ext cx="3412671" cy="3722913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32ED411E-BDC0-4DF8-B066-6EB74B873B3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412671" cy="3024450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E72364BE-DDC0-4DEE-9B0C-6710B445120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46020" y="-1"/>
            <a:ext cx="4855027" cy="4506913"/>
          </a:xfrm>
          <a:prstGeom prst="flowChartDelay">
            <a:avLst/>
          </a:prstGeo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4D49D31-87F2-4E7D-A87B-51B0F363BF8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064088" y="1541463"/>
            <a:ext cx="2963863" cy="2965450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9885358-E664-419B-8450-91EC64E081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126F6198-2599-4F28-9D4F-F489DCC2C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EDD646A4-CD05-4E73-9804-DE068ECC55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9488" y="4845744"/>
            <a:ext cx="3550641" cy="1422194"/>
          </a:xfrm>
        </p:spPr>
        <p:txBody>
          <a:bodyPr>
            <a:normAutofit/>
          </a:bodyPr>
          <a:lstStyle>
            <a:lvl1pPr marL="0" indent="0" algn="l">
              <a:buNone/>
              <a:defRPr sz="3200" u="sng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6BD6B0C6-43CD-4885-9DE8-52B15AFF203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03029" y="4310743"/>
            <a:ext cx="3690257" cy="195719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1657791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BDE649E-4E3F-4634-AF02-718548D949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" y="0"/>
            <a:ext cx="4572000" cy="6857999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EE39D949-8754-467F-8EE9-6463AB9E59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59584" y="2595859"/>
            <a:ext cx="3532416" cy="3582168"/>
          </a:xfrm>
          <a:prstGeom prst="ellipse">
            <a:avLst/>
          </a:prstGeo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DE560EA1-D018-49F7-8671-0299BC518C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9546" y="4386943"/>
            <a:ext cx="3550641" cy="1791084"/>
          </a:xfrm>
        </p:spPr>
        <p:txBody>
          <a:bodyPr>
            <a:normAutofit/>
          </a:bodyPr>
          <a:lstStyle>
            <a:lvl1pPr marL="0" indent="0" algn="l">
              <a:buNone/>
              <a:defRPr sz="4000" u="sng" spc="3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65E9FE7A-5289-4EC0-8BEC-506F2BA2AF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9546" y="718457"/>
            <a:ext cx="4590225" cy="1877403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85459662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BDE649E-4E3F-4634-AF02-718548D949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76800" y="0"/>
            <a:ext cx="3962399" cy="6857999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EE39D949-8754-467F-8EE9-6463AB9E59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45288" y="1977326"/>
            <a:ext cx="2863024" cy="2903348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DE560EA1-D018-49F7-8671-0299BC518C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0743" y="2571559"/>
            <a:ext cx="2775814" cy="1714882"/>
          </a:xfrm>
        </p:spPr>
        <p:txBody>
          <a:bodyPr>
            <a:normAutofit/>
          </a:bodyPr>
          <a:lstStyle>
            <a:lvl1pPr marL="0" indent="0" algn="l">
              <a:buNone/>
              <a:defRPr sz="36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65E9FE7A-5289-4EC0-8BEC-506F2BA2AF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65771" y="2286593"/>
            <a:ext cx="2569029" cy="2284814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58552109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72292685-C74D-4C14-A57B-8204756BFC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8648" y="102703"/>
            <a:ext cx="2817341" cy="3424268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03E8845D-0E2D-4597-80C7-0449D2792FC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648" y="3675827"/>
            <a:ext cx="5796276" cy="3071536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83868714-2056-41C3-9E65-6C56A2377F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27583" y="102703"/>
            <a:ext cx="2817341" cy="3424268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858B47B-9AFA-4C20-9D52-AD6215AD86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16200000">
            <a:off x="6106518" y="2760677"/>
            <a:ext cx="1841728" cy="1336646"/>
          </a:xfrm>
        </p:spPr>
        <p:txBody>
          <a:bodyPr>
            <a:normAutofit/>
          </a:bodyPr>
          <a:lstStyle>
            <a:lvl1pPr marL="0" indent="0" algn="l">
              <a:buNone/>
              <a:defRPr sz="24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C8EBB7A8-DB6A-4409-9DA6-76EEC2A985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58291" y="2533338"/>
            <a:ext cx="2714116" cy="1817558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396025443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720FD25-410E-49F2-8202-FA2B54109E7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98179" y="0"/>
            <a:ext cx="3893821" cy="3424268"/>
          </a:xfrm>
          <a:pattFill prst="ltDnDiag">
            <a:fgClr>
              <a:schemeClr val="accent1"/>
            </a:fgClr>
            <a:bgClr>
              <a:schemeClr val="bg1"/>
            </a:bgClr>
          </a:pattFill>
          <a:ln>
            <a:solidFill>
              <a:srgbClr val="00B0F0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9080" y="102703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9080" y="6382238"/>
            <a:ext cx="2743200" cy="365125"/>
          </a:xfrm>
        </p:spPr>
        <p:txBody>
          <a:bodyPr/>
          <a:lstStyle>
            <a:lvl1pPr algn="l"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DDCB001-2E96-427D-A9F4-1C4C6B89357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98179" y="3433732"/>
            <a:ext cx="3893821" cy="3424268"/>
          </a:xfrm>
          <a:pattFill prst="ltDnDiag">
            <a:fgClr>
              <a:schemeClr val="accent1"/>
            </a:fgClr>
            <a:bgClr>
              <a:schemeClr val="bg1"/>
            </a:bgClr>
          </a:pattFill>
          <a:ln>
            <a:solidFill>
              <a:srgbClr val="00B0F0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A4323E05-6512-4AE1-BC5A-F688F9ADF85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04358" y="0"/>
            <a:ext cx="3893821" cy="3424268"/>
          </a:xfrm>
          <a:pattFill prst="ltDnDiag">
            <a:fgClr>
              <a:schemeClr val="accent1"/>
            </a:fgClr>
            <a:bgClr>
              <a:schemeClr val="bg1"/>
            </a:bgClr>
          </a:pattFill>
          <a:ln>
            <a:solidFill>
              <a:srgbClr val="00B0F0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2C6FBB31-347E-4A5D-AAB3-56077ED118B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04358" y="3433732"/>
            <a:ext cx="3893821" cy="3424268"/>
          </a:xfrm>
          <a:pattFill prst="ltDnDiag">
            <a:fgClr>
              <a:schemeClr val="accent1"/>
            </a:fgClr>
            <a:bgClr>
              <a:schemeClr val="bg1"/>
            </a:bgClr>
          </a:pattFill>
          <a:ln>
            <a:solidFill>
              <a:srgbClr val="00B0F0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5F33F3F-8F34-4942-AC10-F3DFBB2E9B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6225" y="1942909"/>
            <a:ext cx="2775814" cy="1219391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4D76882F-DA54-4C9E-9737-C5F5968280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6819" y="3162300"/>
            <a:ext cx="2765220" cy="2284814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5758838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720FD25-410E-49F2-8202-FA2B54109E7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14864" y="-1"/>
            <a:ext cx="2614864" cy="3930317"/>
          </a:xfrm>
          <a:pattFill prst="ltDnDiag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DDCB001-2E96-427D-A9F4-1C4C6B89357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614864" y="3930316"/>
            <a:ext cx="2614864" cy="2927684"/>
          </a:xfrm>
          <a:pattFill prst="ltDnDiag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5F33F3F-8F34-4942-AC10-F3DFBB2E9B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06593" y="1942908"/>
            <a:ext cx="4675633" cy="1219391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48E50DBB-6A10-415A-91BF-B719D736248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-9464"/>
            <a:ext cx="2614864" cy="3041422"/>
          </a:xfrm>
          <a:pattFill prst="ltDnDiag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188FC52C-632C-4C53-9597-153790D9E3D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3031958"/>
            <a:ext cx="2614864" cy="3816578"/>
          </a:xfrm>
          <a:pattFill prst="ltDnDiag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F16047B1-F3E4-436D-B8FA-627A1374995A}"/>
              </a:ext>
            </a:extLst>
          </p:cNvPr>
          <p:cNvSpPr txBox="1">
            <a:spLocks/>
          </p:cNvSpPr>
          <p:nvPr userDrawn="1"/>
        </p:nvSpPr>
        <p:spPr>
          <a:xfrm>
            <a:off x="10142806" y="102703"/>
            <a:ext cx="1934894" cy="3474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 spc="300">
                <a:solidFill>
                  <a:schemeClr val="tx1">
                    <a:tint val="75000"/>
                  </a:schemeClr>
                </a:solidFill>
                <a:latin typeface="Muli" panose="02000503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Orbital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74CD574-4450-4B56-8B77-A84A1A06AF21}"/>
              </a:ext>
            </a:extLst>
          </p:cNvPr>
          <p:cNvSpPr txBox="1">
            <a:spLocks/>
          </p:cNvSpPr>
          <p:nvPr userDrawn="1"/>
        </p:nvSpPr>
        <p:spPr>
          <a:xfrm>
            <a:off x="9334500" y="638223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Muli" panose="02000503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54DF1E37-DD84-4796-ABE7-247AEF5472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06595" y="3633574"/>
            <a:ext cx="4675632" cy="791547"/>
          </a:xfrm>
        </p:spPr>
        <p:txBody>
          <a:bodyPr>
            <a:normAutofit/>
          </a:bodyPr>
          <a:lstStyle>
            <a:lvl1pPr marL="0" indent="0" algn="l">
              <a:buNone/>
              <a:defRPr sz="20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B553348B-AAF5-4062-8B04-A55803BD7E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06594" y="4455682"/>
            <a:ext cx="4675633" cy="1455281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3683955-240B-4708-BC26-B2A4736D4927}"/>
              </a:ext>
            </a:extLst>
          </p:cNvPr>
          <p:cNvGrpSpPr/>
          <p:nvPr userDrawn="1"/>
        </p:nvGrpSpPr>
        <p:grpSpPr>
          <a:xfrm>
            <a:off x="6273103" y="-2747908"/>
            <a:ext cx="942109" cy="4219541"/>
            <a:chOff x="6471577" y="-492936"/>
            <a:chExt cx="862012" cy="3860801"/>
          </a:xfrm>
        </p:grpSpPr>
        <p:sp>
          <p:nvSpPr>
            <p:cNvPr id="13" name="Oval 98">
              <a:extLst>
                <a:ext uri="{FF2B5EF4-FFF2-40B4-BE49-F238E27FC236}">
                  <a16:creationId xmlns:a16="http://schemas.microsoft.com/office/drawing/2014/main" id="{50EB58F8-D7BA-4E6B-8D2F-88F0530CEED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317101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Oval 99">
              <a:extLst>
                <a:ext uri="{FF2B5EF4-FFF2-40B4-BE49-F238E27FC236}">
                  <a16:creationId xmlns:a16="http://schemas.microsoft.com/office/drawing/2014/main" id="{88C72BDC-559E-42BA-9571-1B94EB9CA5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2837640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100">
              <a:extLst>
                <a:ext uri="{FF2B5EF4-FFF2-40B4-BE49-F238E27FC236}">
                  <a16:creationId xmlns:a16="http://schemas.microsoft.com/office/drawing/2014/main" id="{B1364B63-F25D-4C0A-94A1-A633661A202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250426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101">
              <a:extLst>
                <a:ext uri="{FF2B5EF4-FFF2-40B4-BE49-F238E27FC236}">
                  <a16:creationId xmlns:a16="http://schemas.microsoft.com/office/drawing/2014/main" id="{50E626B0-8F91-4ABA-BB7B-7A45A749EC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217247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102">
              <a:extLst>
                <a:ext uri="{FF2B5EF4-FFF2-40B4-BE49-F238E27FC236}">
                  <a16:creationId xmlns:a16="http://schemas.microsoft.com/office/drawing/2014/main" id="{5D012F90-453E-4326-BA5B-D52F5378D7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839102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103">
              <a:extLst>
                <a:ext uri="{FF2B5EF4-FFF2-40B4-BE49-F238E27FC236}">
                  <a16:creationId xmlns:a16="http://schemas.microsoft.com/office/drawing/2014/main" id="{2F386707-491A-457B-8DC2-78FF726B577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50572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104">
              <a:extLst>
                <a:ext uri="{FF2B5EF4-FFF2-40B4-BE49-F238E27FC236}">
                  <a16:creationId xmlns:a16="http://schemas.microsoft.com/office/drawing/2014/main" id="{8567E563-AEAA-4317-92E6-D996466C42F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17235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Oval 105">
              <a:extLst>
                <a:ext uri="{FF2B5EF4-FFF2-40B4-BE49-F238E27FC236}">
                  <a16:creationId xmlns:a16="http://schemas.microsoft.com/office/drawing/2014/main" id="{220DF5AB-8B9A-4AE6-875F-9121A7CBA9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838977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106">
              <a:extLst>
                <a:ext uri="{FF2B5EF4-FFF2-40B4-BE49-F238E27FC236}">
                  <a16:creationId xmlns:a16="http://schemas.microsoft.com/office/drawing/2014/main" id="{23DA78C4-C944-4DF5-9B73-0B0EAD873F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50560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107">
              <a:extLst>
                <a:ext uri="{FF2B5EF4-FFF2-40B4-BE49-F238E27FC236}">
                  <a16:creationId xmlns:a16="http://schemas.microsoft.com/office/drawing/2014/main" id="{B39B8DEE-4DF5-4665-AB0A-3948B21E288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173815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108">
              <a:extLst>
                <a:ext uri="{FF2B5EF4-FFF2-40B4-BE49-F238E27FC236}">
                  <a16:creationId xmlns:a16="http://schemas.microsoft.com/office/drawing/2014/main" id="{E75FDA88-E001-44CD-A25B-F657B60164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-159560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109">
              <a:extLst>
                <a:ext uri="{FF2B5EF4-FFF2-40B4-BE49-F238E27FC236}">
                  <a16:creationId xmlns:a16="http://schemas.microsoft.com/office/drawing/2014/main" id="{0EAF809C-ED71-4A18-834E-9BA6C4FB43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136739" y="-492936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119">
              <a:extLst>
                <a:ext uri="{FF2B5EF4-FFF2-40B4-BE49-F238E27FC236}">
                  <a16:creationId xmlns:a16="http://schemas.microsoft.com/office/drawing/2014/main" id="{999C4C61-6714-46C7-AFE3-D2CC87DE969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3171015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120">
              <a:extLst>
                <a:ext uri="{FF2B5EF4-FFF2-40B4-BE49-F238E27FC236}">
                  <a16:creationId xmlns:a16="http://schemas.microsoft.com/office/drawing/2014/main" id="{A370ACCC-222D-46FF-8B2A-94EA5F4ADB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2837640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121">
              <a:extLst>
                <a:ext uri="{FF2B5EF4-FFF2-40B4-BE49-F238E27FC236}">
                  <a16:creationId xmlns:a16="http://schemas.microsoft.com/office/drawing/2014/main" id="{4B660BE0-6BF8-4A36-872D-1FCD2B2837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2504265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122">
              <a:extLst>
                <a:ext uri="{FF2B5EF4-FFF2-40B4-BE49-F238E27FC236}">
                  <a16:creationId xmlns:a16="http://schemas.microsoft.com/office/drawing/2014/main" id="{FC3BE84A-670B-4FB8-A38E-CEC83A1E37E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2172477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123">
              <a:extLst>
                <a:ext uri="{FF2B5EF4-FFF2-40B4-BE49-F238E27FC236}">
                  <a16:creationId xmlns:a16="http://schemas.microsoft.com/office/drawing/2014/main" id="{58B58E0E-80AD-4003-8C8F-51AB442F89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839102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124">
              <a:extLst>
                <a:ext uri="{FF2B5EF4-FFF2-40B4-BE49-F238E27FC236}">
                  <a16:creationId xmlns:a16="http://schemas.microsoft.com/office/drawing/2014/main" id="{76C89D8A-CF75-47F9-9D8D-46B666E492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505727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125">
              <a:extLst>
                <a:ext uri="{FF2B5EF4-FFF2-40B4-BE49-F238E27FC236}">
                  <a16:creationId xmlns:a16="http://schemas.microsoft.com/office/drawing/2014/main" id="{07D04FBA-9FAF-4C03-B6ED-B14294C610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172352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126">
              <a:extLst>
                <a:ext uri="{FF2B5EF4-FFF2-40B4-BE49-F238E27FC236}">
                  <a16:creationId xmlns:a16="http://schemas.microsoft.com/office/drawing/2014/main" id="{98CB9507-71F8-4042-910C-2D04826269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838977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127">
              <a:extLst>
                <a:ext uri="{FF2B5EF4-FFF2-40B4-BE49-F238E27FC236}">
                  <a16:creationId xmlns:a16="http://schemas.microsoft.com/office/drawing/2014/main" id="{01DE8A25-FDBB-411B-8B7B-6A2CA9D1A79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505602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128">
              <a:extLst>
                <a:ext uri="{FF2B5EF4-FFF2-40B4-BE49-F238E27FC236}">
                  <a16:creationId xmlns:a16="http://schemas.microsoft.com/office/drawing/2014/main" id="{0F6D8F3B-0BAC-42A6-95F0-F1705E16EE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173815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129">
              <a:extLst>
                <a:ext uri="{FF2B5EF4-FFF2-40B4-BE49-F238E27FC236}">
                  <a16:creationId xmlns:a16="http://schemas.microsoft.com/office/drawing/2014/main" id="{C5A93B32-458B-45CB-9592-BC48E4972E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-159560"/>
              <a:ext cx="195263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130">
              <a:extLst>
                <a:ext uri="{FF2B5EF4-FFF2-40B4-BE49-F238E27FC236}">
                  <a16:creationId xmlns:a16="http://schemas.microsoft.com/office/drawing/2014/main" id="{D7B19758-6B23-469B-AB11-C592F135BF4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804952" y="-492936"/>
              <a:ext cx="195263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Oval 140">
              <a:extLst>
                <a:ext uri="{FF2B5EF4-FFF2-40B4-BE49-F238E27FC236}">
                  <a16:creationId xmlns:a16="http://schemas.microsoft.com/office/drawing/2014/main" id="{CD518E6E-B612-484F-81D5-E8C39F34A2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317101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Oval 141">
              <a:extLst>
                <a:ext uri="{FF2B5EF4-FFF2-40B4-BE49-F238E27FC236}">
                  <a16:creationId xmlns:a16="http://schemas.microsoft.com/office/drawing/2014/main" id="{17688ABC-6C3D-4229-92FE-4EAF48BBDE2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2837640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Oval 142">
              <a:extLst>
                <a:ext uri="{FF2B5EF4-FFF2-40B4-BE49-F238E27FC236}">
                  <a16:creationId xmlns:a16="http://schemas.microsoft.com/office/drawing/2014/main" id="{7AA66E0D-1408-4E14-9A7E-BFD00FB422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2504265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Oval 143">
              <a:extLst>
                <a:ext uri="{FF2B5EF4-FFF2-40B4-BE49-F238E27FC236}">
                  <a16:creationId xmlns:a16="http://schemas.microsoft.com/office/drawing/2014/main" id="{E87F8D4B-F86F-4BBD-823E-5630A1D6D13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217247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Oval 144">
              <a:extLst>
                <a:ext uri="{FF2B5EF4-FFF2-40B4-BE49-F238E27FC236}">
                  <a16:creationId xmlns:a16="http://schemas.microsoft.com/office/drawing/2014/main" id="{09BA94E8-5A4D-4FD9-8929-DA71C1F670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839102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Oval 145">
              <a:extLst>
                <a:ext uri="{FF2B5EF4-FFF2-40B4-BE49-F238E27FC236}">
                  <a16:creationId xmlns:a16="http://schemas.microsoft.com/office/drawing/2014/main" id="{710805F5-8EB6-4636-8437-6155CB1DED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505727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Oval 146">
              <a:extLst>
                <a:ext uri="{FF2B5EF4-FFF2-40B4-BE49-F238E27FC236}">
                  <a16:creationId xmlns:a16="http://schemas.microsoft.com/office/drawing/2014/main" id="{52A49D22-6AB5-453C-BB34-7E3FD076D4C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17235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Oval 147">
              <a:extLst>
                <a:ext uri="{FF2B5EF4-FFF2-40B4-BE49-F238E27FC236}">
                  <a16:creationId xmlns:a16="http://schemas.microsoft.com/office/drawing/2014/main" id="{B928AB88-4541-4341-A3B7-D93D1E06701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838977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Oval 148">
              <a:extLst>
                <a:ext uri="{FF2B5EF4-FFF2-40B4-BE49-F238E27FC236}">
                  <a16:creationId xmlns:a16="http://schemas.microsoft.com/office/drawing/2014/main" id="{A055A767-846B-4BDB-96AF-3B89BBBDF1F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505602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Oval 149">
              <a:extLst>
                <a:ext uri="{FF2B5EF4-FFF2-40B4-BE49-F238E27FC236}">
                  <a16:creationId xmlns:a16="http://schemas.microsoft.com/office/drawing/2014/main" id="{4615BA26-6E54-4905-904F-A08FEC52F1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173815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Oval 150">
              <a:extLst>
                <a:ext uri="{FF2B5EF4-FFF2-40B4-BE49-F238E27FC236}">
                  <a16:creationId xmlns:a16="http://schemas.microsoft.com/office/drawing/2014/main" id="{5A6D8D65-EF3A-4286-91FA-7F1E0B8EE3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-159560"/>
              <a:ext cx="196850" cy="195263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Oval 151">
              <a:extLst>
                <a:ext uri="{FF2B5EF4-FFF2-40B4-BE49-F238E27FC236}">
                  <a16:creationId xmlns:a16="http://schemas.microsoft.com/office/drawing/2014/main" id="{99FC7B05-0A67-4F01-AD28-E95B2348AA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471577" y="-492936"/>
              <a:ext cx="196850" cy="196850"/>
            </a:xfrm>
            <a:prstGeom prst="ellipse">
              <a:avLst/>
            </a:prstGeom>
            <a:solidFill>
              <a:schemeClr val="tx2">
                <a:lumMod val="8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6951053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80B698A-657E-4B24-9CF9-9AE1B6EB1DF5}"/>
              </a:ext>
            </a:extLst>
          </p:cNvPr>
          <p:cNvSpPr/>
          <p:nvPr userDrawn="1"/>
        </p:nvSpPr>
        <p:spPr>
          <a:xfrm>
            <a:off x="2450930" y="1966006"/>
            <a:ext cx="2459736" cy="2743200"/>
          </a:xfrm>
          <a:prstGeom prst="rect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539FDBE-A785-4C4A-9F8C-8C2AA0BC65A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966006"/>
            <a:ext cx="2455333" cy="2743200"/>
          </a:xfr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CB4ED8ED-42D1-4CF8-996A-9A7514925C8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10666" y="1966006"/>
            <a:ext cx="4826001" cy="2743200"/>
          </a:xfr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DEF1310A-4718-40EB-8E22-7BE27D2AB75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736667" y="1966006"/>
            <a:ext cx="2455333" cy="2743200"/>
          </a:xfr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4A3694F-C422-4D1D-AC0F-049D6E37E0E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82040" y="606726"/>
            <a:ext cx="5627922" cy="798742"/>
          </a:xfrm>
        </p:spPr>
        <p:txBody>
          <a:bodyPr>
            <a:normAutofit/>
          </a:bodyPr>
          <a:lstStyle>
            <a:lvl1pPr marL="0" indent="0" algn="ctr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2FFD80B0-44DD-4FE3-A24C-5C3AFF5FE3D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82040" y="5033733"/>
            <a:ext cx="5627922" cy="1196104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FC7C3E0E-CB87-4A3C-970E-DB92128DC0C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61335" y="2747264"/>
            <a:ext cx="2243329" cy="438149"/>
          </a:xfrm>
        </p:spPr>
        <p:txBody>
          <a:bodyPr>
            <a:normAutofit/>
          </a:bodyPr>
          <a:lstStyle>
            <a:lvl1pPr marL="0" indent="0" algn="ctr">
              <a:buNone/>
              <a:defRPr sz="1600" b="1" u="none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6461B1E8-4CB1-499A-BE44-60BD67DFD90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61335" y="3093121"/>
            <a:ext cx="2243329" cy="914400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2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B83385FA-B71F-4BC6-8D3D-77CA4FF0AC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26A2489-5EAB-4BC9-AB82-75D7A32329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775205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027D173-778F-49A8-B8CF-937F36BDFF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8602133 w 12192000"/>
              <a:gd name="connsiteY0" fmla="*/ 1481665 h 6858000"/>
              <a:gd name="connsiteX1" fmla="*/ 10549467 w 12192000"/>
              <a:gd name="connsiteY1" fmla="*/ 3428999 h 6858000"/>
              <a:gd name="connsiteX2" fmla="*/ 8602133 w 12192000"/>
              <a:gd name="connsiteY2" fmla="*/ 5376333 h 6858000"/>
              <a:gd name="connsiteX3" fmla="*/ 6654799 w 12192000"/>
              <a:gd name="connsiteY3" fmla="*/ 3428999 h 6858000"/>
              <a:gd name="connsiteX4" fmla="*/ 8602133 w 12192000"/>
              <a:gd name="connsiteY4" fmla="*/ 1481665 h 6858000"/>
              <a:gd name="connsiteX5" fmla="*/ 575733 w 12192000"/>
              <a:gd name="connsiteY5" fmla="*/ 697025 h 6858000"/>
              <a:gd name="connsiteX6" fmla="*/ 575733 w 12192000"/>
              <a:gd name="connsiteY6" fmla="*/ 6160975 h 6858000"/>
              <a:gd name="connsiteX7" fmla="*/ 11616267 w 12192000"/>
              <a:gd name="connsiteY7" fmla="*/ 6160975 h 6858000"/>
              <a:gd name="connsiteX8" fmla="*/ 11616267 w 12192000"/>
              <a:gd name="connsiteY8" fmla="*/ 697025 h 6858000"/>
              <a:gd name="connsiteX9" fmla="*/ 0 w 12192000"/>
              <a:gd name="connsiteY9" fmla="*/ 0 h 6858000"/>
              <a:gd name="connsiteX10" fmla="*/ 12192000 w 12192000"/>
              <a:gd name="connsiteY10" fmla="*/ 0 h 6858000"/>
              <a:gd name="connsiteX11" fmla="*/ 12192000 w 12192000"/>
              <a:gd name="connsiteY11" fmla="*/ 6858000 h 6858000"/>
              <a:gd name="connsiteX12" fmla="*/ 0 w 12192000"/>
              <a:gd name="connsiteY1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8602133" y="1481665"/>
                </a:moveTo>
                <a:cubicBezTo>
                  <a:pt x="9677616" y="1481665"/>
                  <a:pt x="10549467" y="2353516"/>
                  <a:pt x="10549467" y="3428999"/>
                </a:cubicBezTo>
                <a:cubicBezTo>
                  <a:pt x="10549467" y="4504482"/>
                  <a:pt x="9677616" y="5376333"/>
                  <a:pt x="8602133" y="5376333"/>
                </a:cubicBezTo>
                <a:cubicBezTo>
                  <a:pt x="7526650" y="5376333"/>
                  <a:pt x="6654799" y="4504482"/>
                  <a:pt x="6654799" y="3428999"/>
                </a:cubicBezTo>
                <a:cubicBezTo>
                  <a:pt x="6654799" y="2353516"/>
                  <a:pt x="7526650" y="1481665"/>
                  <a:pt x="8602133" y="1481665"/>
                </a:cubicBezTo>
                <a:close/>
                <a:moveTo>
                  <a:pt x="575733" y="697025"/>
                </a:moveTo>
                <a:lnTo>
                  <a:pt x="575733" y="6160975"/>
                </a:lnTo>
                <a:lnTo>
                  <a:pt x="11616267" y="6160975"/>
                </a:lnTo>
                <a:lnTo>
                  <a:pt x="11616267" y="69702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06147" y="6364300"/>
            <a:ext cx="1934894" cy="347464"/>
          </a:xfrm>
        </p:spPr>
        <p:txBody>
          <a:bodyPr/>
          <a:lstStyle>
            <a:lvl1pPr algn="l">
              <a:defRPr spc="3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73FD6CB-31BA-41F9-B2EF-CC14C2B75F6E}"/>
              </a:ext>
            </a:extLst>
          </p:cNvPr>
          <p:cNvSpPr/>
          <p:nvPr userDrawn="1"/>
        </p:nvSpPr>
        <p:spPr>
          <a:xfrm>
            <a:off x="575733" y="697026"/>
            <a:ext cx="11040534" cy="5463950"/>
          </a:xfrm>
          <a:custGeom>
            <a:avLst/>
            <a:gdLst>
              <a:gd name="connsiteX0" fmla="*/ 8026400 w 11040534"/>
              <a:gd name="connsiteY0" fmla="*/ 784640 h 5463950"/>
              <a:gd name="connsiteX1" fmla="*/ 6079066 w 11040534"/>
              <a:gd name="connsiteY1" fmla="*/ 2731974 h 5463950"/>
              <a:gd name="connsiteX2" fmla="*/ 8026400 w 11040534"/>
              <a:gd name="connsiteY2" fmla="*/ 4679308 h 5463950"/>
              <a:gd name="connsiteX3" fmla="*/ 9973734 w 11040534"/>
              <a:gd name="connsiteY3" fmla="*/ 2731974 h 5463950"/>
              <a:gd name="connsiteX4" fmla="*/ 8026400 w 11040534"/>
              <a:gd name="connsiteY4" fmla="*/ 784640 h 5463950"/>
              <a:gd name="connsiteX5" fmla="*/ 0 w 11040534"/>
              <a:gd name="connsiteY5" fmla="*/ 0 h 5463950"/>
              <a:gd name="connsiteX6" fmla="*/ 11040534 w 11040534"/>
              <a:gd name="connsiteY6" fmla="*/ 0 h 5463950"/>
              <a:gd name="connsiteX7" fmla="*/ 11040534 w 11040534"/>
              <a:gd name="connsiteY7" fmla="*/ 5463950 h 5463950"/>
              <a:gd name="connsiteX8" fmla="*/ 0 w 11040534"/>
              <a:gd name="connsiteY8" fmla="*/ 5463950 h 5463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40534" h="5463950">
                <a:moveTo>
                  <a:pt x="8026400" y="784640"/>
                </a:moveTo>
                <a:cubicBezTo>
                  <a:pt x="6950917" y="784640"/>
                  <a:pt x="6079066" y="1656491"/>
                  <a:pt x="6079066" y="2731974"/>
                </a:cubicBezTo>
                <a:cubicBezTo>
                  <a:pt x="6079066" y="3807457"/>
                  <a:pt x="6950917" y="4679308"/>
                  <a:pt x="8026400" y="4679308"/>
                </a:cubicBezTo>
                <a:cubicBezTo>
                  <a:pt x="9101883" y="4679308"/>
                  <a:pt x="9973734" y="3807457"/>
                  <a:pt x="9973734" y="2731974"/>
                </a:cubicBezTo>
                <a:cubicBezTo>
                  <a:pt x="9973734" y="1656491"/>
                  <a:pt x="9101883" y="784640"/>
                  <a:pt x="8026400" y="784640"/>
                </a:cubicBezTo>
                <a:close/>
                <a:moveTo>
                  <a:pt x="0" y="0"/>
                </a:moveTo>
                <a:lnTo>
                  <a:pt x="11040534" y="0"/>
                </a:lnTo>
                <a:lnTo>
                  <a:pt x="11040534" y="5463950"/>
                </a:lnTo>
                <a:lnTo>
                  <a:pt x="0" y="5463950"/>
                </a:lnTo>
                <a:close/>
              </a:path>
            </a:pathLst>
          </a:cu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D75D773-FA12-4CCC-95A3-626B417C8C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86312" y="1844053"/>
            <a:ext cx="4675633" cy="1219391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35494527-311B-4F9A-B063-02DDF2F82B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86314" y="3534719"/>
            <a:ext cx="4675632" cy="791547"/>
          </a:xfrm>
        </p:spPr>
        <p:txBody>
          <a:bodyPr>
            <a:normAutofit/>
          </a:bodyPr>
          <a:lstStyle>
            <a:lvl1pPr marL="0" indent="0" algn="l">
              <a:buNone/>
              <a:defRPr sz="2000" u="sng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64CAB185-ECEF-424D-8C0E-B93316C13E2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86313" y="4356827"/>
            <a:ext cx="4675633" cy="1455281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7107809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91E93347-0F00-45E8-A41D-3A3C0736F1E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30442" y="3446463"/>
            <a:ext cx="4061558" cy="3411537"/>
          </a:xfr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89C5D04-C8E1-4478-88DF-CF75D688ECF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685799"/>
            <a:ext cx="6493384" cy="6172200"/>
          </a:xfrm>
          <a:custGeom>
            <a:avLst/>
            <a:gdLst>
              <a:gd name="connsiteX0" fmla="*/ 0 w 6493384"/>
              <a:gd name="connsiteY0" fmla="*/ 0 h 6172200"/>
              <a:gd name="connsiteX1" fmla="*/ 3270250 w 6493384"/>
              <a:gd name="connsiteY1" fmla="*/ 0 h 6172200"/>
              <a:gd name="connsiteX2" fmla="*/ 6474060 w 6493384"/>
              <a:gd name="connsiteY2" fmla="*/ 2464143 h 6172200"/>
              <a:gd name="connsiteX3" fmla="*/ 6493384 w 6493384"/>
              <a:gd name="connsiteY3" fmla="*/ 2583627 h 6172200"/>
              <a:gd name="connsiteX4" fmla="*/ 3661510 w 6493384"/>
              <a:gd name="connsiteY4" fmla="*/ 2583627 h 6172200"/>
              <a:gd name="connsiteX5" fmla="*/ 3661510 w 6493384"/>
              <a:gd name="connsiteY5" fmla="*/ 6149444 h 6172200"/>
              <a:gd name="connsiteX6" fmla="*/ 3604614 w 6493384"/>
              <a:gd name="connsiteY6" fmla="*/ 6156267 h 6172200"/>
              <a:gd name="connsiteX7" fmla="*/ 3270250 w 6493384"/>
              <a:gd name="connsiteY7" fmla="*/ 6172200 h 6172200"/>
              <a:gd name="connsiteX8" fmla="*/ 0 w 6493384"/>
              <a:gd name="connsiteY8" fmla="*/ 6172199 h 617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493384" h="6172200">
                <a:moveTo>
                  <a:pt x="0" y="0"/>
                </a:moveTo>
                <a:lnTo>
                  <a:pt x="3270250" y="0"/>
                </a:lnTo>
                <a:cubicBezTo>
                  <a:pt x="4850596" y="0"/>
                  <a:pt x="6169122" y="1057860"/>
                  <a:pt x="6474060" y="2464143"/>
                </a:cubicBezTo>
                <a:lnTo>
                  <a:pt x="6493384" y="2583627"/>
                </a:lnTo>
                <a:lnTo>
                  <a:pt x="3661510" y="2583627"/>
                </a:lnTo>
                <a:lnTo>
                  <a:pt x="3661510" y="6149444"/>
                </a:lnTo>
                <a:lnTo>
                  <a:pt x="3604614" y="6156267"/>
                </a:lnTo>
                <a:cubicBezTo>
                  <a:pt x="3494678" y="6166803"/>
                  <a:pt x="3383132" y="6172200"/>
                  <a:pt x="3270250" y="6172200"/>
                </a:cubicBezTo>
                <a:lnTo>
                  <a:pt x="0" y="6172199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48EEECC-98D0-482B-8677-FE90137147A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9350" y="3446463"/>
            <a:ext cx="4061558" cy="3411537"/>
          </a:xfr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FAC534F-F8F8-4EA1-B577-220B009067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30116" y="896816"/>
            <a:ext cx="4600277" cy="949570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AD2AD793-20F3-42BE-9334-6D52822BC4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40711" y="1846386"/>
            <a:ext cx="4582720" cy="1364446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3175287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6">
            <a:extLst>
              <a:ext uri="{FF2B5EF4-FFF2-40B4-BE49-F238E27FC236}">
                <a16:creationId xmlns:a16="http://schemas.microsoft.com/office/drawing/2014/main" id="{D70DE248-99F1-4A0C-A9BD-0CB705CFD13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38238" y="990600"/>
            <a:ext cx="5045075" cy="5048250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15C465A4-2B2F-40CE-AA86-9145D2201ACB}"/>
              </a:ext>
            </a:extLst>
          </p:cNvPr>
          <p:cNvGrpSpPr/>
          <p:nvPr userDrawn="1"/>
        </p:nvGrpSpPr>
        <p:grpSpPr>
          <a:xfrm>
            <a:off x="1828800" y="5143500"/>
            <a:ext cx="2209800" cy="2033588"/>
            <a:chOff x="1828800" y="5143500"/>
            <a:chExt cx="2209800" cy="2033588"/>
          </a:xfrm>
        </p:grpSpPr>
        <p:sp>
          <p:nvSpPr>
            <p:cNvPr id="13" name="Oval 7">
              <a:extLst>
                <a:ext uri="{FF2B5EF4-FFF2-40B4-BE49-F238E27FC236}">
                  <a16:creationId xmlns:a16="http://schemas.microsoft.com/office/drawing/2014/main" id="{B737FE32-F120-405E-BABB-FAA12249B1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706688" y="7073900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Oval 8">
              <a:extLst>
                <a:ext uri="{FF2B5EF4-FFF2-40B4-BE49-F238E27FC236}">
                  <a16:creationId xmlns:a16="http://schemas.microsoft.com/office/drawing/2014/main" id="{3A55833E-F1B5-4290-8E8D-EA34A6D3876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81313" y="7073900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Oval 9">
              <a:extLst>
                <a:ext uri="{FF2B5EF4-FFF2-40B4-BE49-F238E27FC236}">
                  <a16:creationId xmlns:a16="http://schemas.microsoft.com/office/drawing/2014/main" id="{5FB5B7E6-6F50-4271-909A-4DFBFA0E1CD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57525" y="7073900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Oval 10">
              <a:extLst>
                <a:ext uri="{FF2B5EF4-FFF2-40B4-BE49-F238E27FC236}">
                  <a16:creationId xmlns:a16="http://schemas.microsoft.com/office/drawing/2014/main" id="{61532E3F-817D-4638-8849-4BBD3D47308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32150" y="7073900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Oval 11">
              <a:extLst>
                <a:ext uri="{FF2B5EF4-FFF2-40B4-BE49-F238E27FC236}">
                  <a16:creationId xmlns:a16="http://schemas.microsoft.com/office/drawing/2014/main" id="{80D1BBD2-07AB-4643-85C0-4BB23B0EF2E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54263" y="6899275"/>
              <a:ext cx="104775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Oval 12">
              <a:extLst>
                <a:ext uri="{FF2B5EF4-FFF2-40B4-BE49-F238E27FC236}">
                  <a16:creationId xmlns:a16="http://schemas.microsoft.com/office/drawing/2014/main" id="{6D9EAE56-3E23-487A-88D8-2939C5CE9D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530475" y="689927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13">
              <a:extLst>
                <a:ext uri="{FF2B5EF4-FFF2-40B4-BE49-F238E27FC236}">
                  <a16:creationId xmlns:a16="http://schemas.microsoft.com/office/drawing/2014/main" id="{F29EAFED-2E08-4EB8-85E9-AF723D15B2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706688" y="689927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Oval 14">
              <a:extLst>
                <a:ext uri="{FF2B5EF4-FFF2-40B4-BE49-F238E27FC236}">
                  <a16:creationId xmlns:a16="http://schemas.microsoft.com/office/drawing/2014/main" id="{273FF9FB-A5DF-4FFC-AD59-B1C70D442C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81313" y="689927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15">
              <a:extLst>
                <a:ext uri="{FF2B5EF4-FFF2-40B4-BE49-F238E27FC236}">
                  <a16:creationId xmlns:a16="http://schemas.microsoft.com/office/drawing/2014/main" id="{76AA2AD2-8E21-47EB-A342-119156FD04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57525" y="689927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16">
              <a:extLst>
                <a:ext uri="{FF2B5EF4-FFF2-40B4-BE49-F238E27FC236}">
                  <a16:creationId xmlns:a16="http://schemas.microsoft.com/office/drawing/2014/main" id="{E6594506-4B98-4205-BAD4-730771324C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32150" y="689927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17">
              <a:extLst>
                <a:ext uri="{FF2B5EF4-FFF2-40B4-BE49-F238E27FC236}">
                  <a16:creationId xmlns:a16="http://schemas.microsoft.com/office/drawing/2014/main" id="{9B0C0477-E743-49D7-9131-A766B90D55D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408363" y="689927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18">
              <a:extLst>
                <a:ext uri="{FF2B5EF4-FFF2-40B4-BE49-F238E27FC236}">
                  <a16:creationId xmlns:a16="http://schemas.microsoft.com/office/drawing/2014/main" id="{3EA5938E-D119-4AF4-A7B3-11A6BD026B3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79638" y="6723063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19">
              <a:extLst>
                <a:ext uri="{FF2B5EF4-FFF2-40B4-BE49-F238E27FC236}">
                  <a16:creationId xmlns:a16="http://schemas.microsoft.com/office/drawing/2014/main" id="{BEF3F1DC-B45C-4DED-9702-C56F5CE7C9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54263" y="6723063"/>
              <a:ext cx="104775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Oval 20">
              <a:extLst>
                <a:ext uri="{FF2B5EF4-FFF2-40B4-BE49-F238E27FC236}">
                  <a16:creationId xmlns:a16="http://schemas.microsoft.com/office/drawing/2014/main" id="{0280D108-0634-44B4-A6A5-2A9C4937846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530475" y="6723063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21">
              <a:extLst>
                <a:ext uri="{FF2B5EF4-FFF2-40B4-BE49-F238E27FC236}">
                  <a16:creationId xmlns:a16="http://schemas.microsoft.com/office/drawing/2014/main" id="{C0D86486-C055-47D7-BC4B-782332A42EE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706688" y="6723063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22">
              <a:extLst>
                <a:ext uri="{FF2B5EF4-FFF2-40B4-BE49-F238E27FC236}">
                  <a16:creationId xmlns:a16="http://schemas.microsoft.com/office/drawing/2014/main" id="{CB79BC75-FE8B-4EE5-8162-7A7FEBD3C9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81313" y="6723063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23">
              <a:extLst>
                <a:ext uri="{FF2B5EF4-FFF2-40B4-BE49-F238E27FC236}">
                  <a16:creationId xmlns:a16="http://schemas.microsoft.com/office/drawing/2014/main" id="{2C190BF1-998A-4B08-BAF1-3CF8E94B1C4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57525" y="6723063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24">
              <a:extLst>
                <a:ext uri="{FF2B5EF4-FFF2-40B4-BE49-F238E27FC236}">
                  <a16:creationId xmlns:a16="http://schemas.microsoft.com/office/drawing/2014/main" id="{25136272-B37D-4238-8327-FFB6E81FB83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32150" y="6723063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25">
              <a:extLst>
                <a:ext uri="{FF2B5EF4-FFF2-40B4-BE49-F238E27FC236}">
                  <a16:creationId xmlns:a16="http://schemas.microsoft.com/office/drawing/2014/main" id="{2A17A33C-78AC-40A5-B42B-837AA797781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408363" y="6723063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26">
              <a:extLst>
                <a:ext uri="{FF2B5EF4-FFF2-40B4-BE49-F238E27FC236}">
                  <a16:creationId xmlns:a16="http://schemas.microsoft.com/office/drawing/2014/main" id="{19D31638-8F6F-4EE0-ABD0-DE0BD8B049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582988" y="6723063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27">
              <a:extLst>
                <a:ext uri="{FF2B5EF4-FFF2-40B4-BE49-F238E27FC236}">
                  <a16:creationId xmlns:a16="http://schemas.microsoft.com/office/drawing/2014/main" id="{35A3724C-2E95-4CCD-93AB-6D43AF76EB9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03425" y="654843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28">
              <a:extLst>
                <a:ext uri="{FF2B5EF4-FFF2-40B4-BE49-F238E27FC236}">
                  <a16:creationId xmlns:a16="http://schemas.microsoft.com/office/drawing/2014/main" id="{D4BA1B72-32B4-4668-9B71-49A93328CB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79638" y="654843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29">
              <a:extLst>
                <a:ext uri="{FF2B5EF4-FFF2-40B4-BE49-F238E27FC236}">
                  <a16:creationId xmlns:a16="http://schemas.microsoft.com/office/drawing/2014/main" id="{53AE75D6-B10F-4854-A1B8-DBB63EF367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54263" y="6548438"/>
              <a:ext cx="104775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30">
              <a:extLst>
                <a:ext uri="{FF2B5EF4-FFF2-40B4-BE49-F238E27FC236}">
                  <a16:creationId xmlns:a16="http://schemas.microsoft.com/office/drawing/2014/main" id="{F09545E9-3A5F-441C-A607-EBFB40320F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530475" y="654843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31">
              <a:extLst>
                <a:ext uri="{FF2B5EF4-FFF2-40B4-BE49-F238E27FC236}">
                  <a16:creationId xmlns:a16="http://schemas.microsoft.com/office/drawing/2014/main" id="{ECACDF61-C593-41C2-B63D-55F3E172EA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706688" y="654843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32">
              <a:extLst>
                <a:ext uri="{FF2B5EF4-FFF2-40B4-BE49-F238E27FC236}">
                  <a16:creationId xmlns:a16="http://schemas.microsoft.com/office/drawing/2014/main" id="{468F9879-E313-492F-B522-2587BAE8D6E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81313" y="654843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33">
              <a:extLst>
                <a:ext uri="{FF2B5EF4-FFF2-40B4-BE49-F238E27FC236}">
                  <a16:creationId xmlns:a16="http://schemas.microsoft.com/office/drawing/2014/main" id="{A0F22E86-0DD0-4B70-BF4A-237840ABB3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57525" y="654843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34">
              <a:extLst>
                <a:ext uri="{FF2B5EF4-FFF2-40B4-BE49-F238E27FC236}">
                  <a16:creationId xmlns:a16="http://schemas.microsoft.com/office/drawing/2014/main" id="{E3600914-B394-4158-8DDA-08DA35802D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32150" y="654843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35">
              <a:extLst>
                <a:ext uri="{FF2B5EF4-FFF2-40B4-BE49-F238E27FC236}">
                  <a16:creationId xmlns:a16="http://schemas.microsoft.com/office/drawing/2014/main" id="{68CEAECD-6905-4BB9-B12C-438376F9F03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408363" y="654843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36">
              <a:extLst>
                <a:ext uri="{FF2B5EF4-FFF2-40B4-BE49-F238E27FC236}">
                  <a16:creationId xmlns:a16="http://schemas.microsoft.com/office/drawing/2014/main" id="{42607845-1B1C-43E5-A137-B7FB33729DF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582988" y="654843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Oval 37">
              <a:extLst>
                <a:ext uri="{FF2B5EF4-FFF2-40B4-BE49-F238E27FC236}">
                  <a16:creationId xmlns:a16="http://schemas.microsoft.com/office/drawing/2014/main" id="{C9C5F922-0883-442C-8B60-D7C8E5B135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759200" y="654843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Oval 38">
              <a:extLst>
                <a:ext uri="{FF2B5EF4-FFF2-40B4-BE49-F238E27FC236}">
                  <a16:creationId xmlns:a16="http://schemas.microsoft.com/office/drawing/2014/main" id="{D242465E-74D9-4E81-B461-DC354292151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03425" y="637222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Oval 39">
              <a:extLst>
                <a:ext uri="{FF2B5EF4-FFF2-40B4-BE49-F238E27FC236}">
                  <a16:creationId xmlns:a16="http://schemas.microsoft.com/office/drawing/2014/main" id="{922B0226-4924-4AFB-82F2-DE054F3543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79638" y="637222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Oval 40">
              <a:extLst>
                <a:ext uri="{FF2B5EF4-FFF2-40B4-BE49-F238E27FC236}">
                  <a16:creationId xmlns:a16="http://schemas.microsoft.com/office/drawing/2014/main" id="{0081C0FB-169A-43DA-966A-0E35D61E0E1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54263" y="6372225"/>
              <a:ext cx="104775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Oval 41">
              <a:extLst>
                <a:ext uri="{FF2B5EF4-FFF2-40B4-BE49-F238E27FC236}">
                  <a16:creationId xmlns:a16="http://schemas.microsoft.com/office/drawing/2014/main" id="{308373D8-A267-49FC-9ADD-5340ADC6A2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530475" y="637222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Oval 42">
              <a:extLst>
                <a:ext uri="{FF2B5EF4-FFF2-40B4-BE49-F238E27FC236}">
                  <a16:creationId xmlns:a16="http://schemas.microsoft.com/office/drawing/2014/main" id="{9C32B051-A337-497F-817C-5F3D0B8794B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706688" y="637222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Oval 43">
              <a:extLst>
                <a:ext uri="{FF2B5EF4-FFF2-40B4-BE49-F238E27FC236}">
                  <a16:creationId xmlns:a16="http://schemas.microsoft.com/office/drawing/2014/main" id="{604BFDCF-67E3-4DA4-8973-1B36C79DEF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81313" y="637222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Oval 44">
              <a:extLst>
                <a:ext uri="{FF2B5EF4-FFF2-40B4-BE49-F238E27FC236}">
                  <a16:creationId xmlns:a16="http://schemas.microsoft.com/office/drawing/2014/main" id="{B5EB3650-49C5-40B9-BEBD-B93B710E3F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57525" y="637222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Oval 45">
              <a:extLst>
                <a:ext uri="{FF2B5EF4-FFF2-40B4-BE49-F238E27FC236}">
                  <a16:creationId xmlns:a16="http://schemas.microsoft.com/office/drawing/2014/main" id="{FFC17E36-C0CE-4880-B784-0DDD9D926D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32150" y="637222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Oval 46">
              <a:extLst>
                <a:ext uri="{FF2B5EF4-FFF2-40B4-BE49-F238E27FC236}">
                  <a16:creationId xmlns:a16="http://schemas.microsoft.com/office/drawing/2014/main" id="{CED08012-FAA0-49DE-BBEF-F3B047B56C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408363" y="637222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Oval 47">
              <a:extLst>
                <a:ext uri="{FF2B5EF4-FFF2-40B4-BE49-F238E27FC236}">
                  <a16:creationId xmlns:a16="http://schemas.microsoft.com/office/drawing/2014/main" id="{EA89E777-69E8-4C05-8312-DD10F7D7703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582988" y="637222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Oval 48">
              <a:extLst>
                <a:ext uri="{FF2B5EF4-FFF2-40B4-BE49-F238E27FC236}">
                  <a16:creationId xmlns:a16="http://schemas.microsoft.com/office/drawing/2014/main" id="{70AF8EFD-0C98-4478-8EF0-0E8669936C4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759200" y="637222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Oval 49">
              <a:extLst>
                <a:ext uri="{FF2B5EF4-FFF2-40B4-BE49-F238E27FC236}">
                  <a16:creationId xmlns:a16="http://schemas.microsoft.com/office/drawing/2014/main" id="{5ED5E69B-B5B4-41D1-96EA-A88E561AF7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03425" y="6197600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Oval 50">
              <a:extLst>
                <a:ext uri="{FF2B5EF4-FFF2-40B4-BE49-F238E27FC236}">
                  <a16:creationId xmlns:a16="http://schemas.microsoft.com/office/drawing/2014/main" id="{5CBD528A-BD0F-4DAE-A9C8-C9ECF68458A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79638" y="6197600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Oval 51">
              <a:extLst>
                <a:ext uri="{FF2B5EF4-FFF2-40B4-BE49-F238E27FC236}">
                  <a16:creationId xmlns:a16="http://schemas.microsoft.com/office/drawing/2014/main" id="{C662C582-ABDE-498E-8317-DB2016C6331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54263" y="6197600"/>
              <a:ext cx="104775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Oval 52">
              <a:extLst>
                <a:ext uri="{FF2B5EF4-FFF2-40B4-BE49-F238E27FC236}">
                  <a16:creationId xmlns:a16="http://schemas.microsoft.com/office/drawing/2014/main" id="{C525AF75-D6D2-45D8-A9C9-15E36A3412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530475" y="6197600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Oval 53">
              <a:extLst>
                <a:ext uri="{FF2B5EF4-FFF2-40B4-BE49-F238E27FC236}">
                  <a16:creationId xmlns:a16="http://schemas.microsoft.com/office/drawing/2014/main" id="{2E638042-2C31-474B-BDD8-D591EF95D9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706688" y="6197600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Oval 54">
              <a:extLst>
                <a:ext uri="{FF2B5EF4-FFF2-40B4-BE49-F238E27FC236}">
                  <a16:creationId xmlns:a16="http://schemas.microsoft.com/office/drawing/2014/main" id="{0162D6DF-175F-432E-8B6F-DF63E3BB304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81313" y="6197600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Oval 55">
              <a:extLst>
                <a:ext uri="{FF2B5EF4-FFF2-40B4-BE49-F238E27FC236}">
                  <a16:creationId xmlns:a16="http://schemas.microsoft.com/office/drawing/2014/main" id="{17E9D3BA-9AE2-43D4-B0DC-82BF1E1F47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57525" y="6197600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Oval 56">
              <a:extLst>
                <a:ext uri="{FF2B5EF4-FFF2-40B4-BE49-F238E27FC236}">
                  <a16:creationId xmlns:a16="http://schemas.microsoft.com/office/drawing/2014/main" id="{B02E6458-5BE6-408A-86EF-038C56A057E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32150" y="6197600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Oval 57">
              <a:extLst>
                <a:ext uri="{FF2B5EF4-FFF2-40B4-BE49-F238E27FC236}">
                  <a16:creationId xmlns:a16="http://schemas.microsoft.com/office/drawing/2014/main" id="{816E6E3B-1A7F-4A63-8460-E5515F48D3E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408363" y="6197600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58">
              <a:extLst>
                <a:ext uri="{FF2B5EF4-FFF2-40B4-BE49-F238E27FC236}">
                  <a16:creationId xmlns:a16="http://schemas.microsoft.com/office/drawing/2014/main" id="{8C2A19AB-D6D3-4D5B-B092-CA886F7064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582988" y="6197600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Oval 59">
              <a:extLst>
                <a:ext uri="{FF2B5EF4-FFF2-40B4-BE49-F238E27FC236}">
                  <a16:creationId xmlns:a16="http://schemas.microsoft.com/office/drawing/2014/main" id="{E7E50C6D-B487-4321-BC07-DA6D9DD428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759200" y="6197600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Oval 60">
              <a:extLst>
                <a:ext uri="{FF2B5EF4-FFF2-40B4-BE49-F238E27FC236}">
                  <a16:creationId xmlns:a16="http://schemas.microsoft.com/office/drawing/2014/main" id="{88546B04-7648-4D92-8339-7544E79516C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28800" y="602138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Oval 61">
              <a:extLst>
                <a:ext uri="{FF2B5EF4-FFF2-40B4-BE49-F238E27FC236}">
                  <a16:creationId xmlns:a16="http://schemas.microsoft.com/office/drawing/2014/main" id="{67CDB6DC-E820-498B-BA4B-F0A08D30A26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03425" y="602138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Oval 62">
              <a:extLst>
                <a:ext uri="{FF2B5EF4-FFF2-40B4-BE49-F238E27FC236}">
                  <a16:creationId xmlns:a16="http://schemas.microsoft.com/office/drawing/2014/main" id="{35BB4DC4-D84B-4238-BC99-E970E595E1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79638" y="602138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63">
              <a:extLst>
                <a:ext uri="{FF2B5EF4-FFF2-40B4-BE49-F238E27FC236}">
                  <a16:creationId xmlns:a16="http://schemas.microsoft.com/office/drawing/2014/main" id="{FC165145-6D66-4DF8-A0B5-2E197FB130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54263" y="6021388"/>
              <a:ext cx="104775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64">
              <a:extLst>
                <a:ext uri="{FF2B5EF4-FFF2-40B4-BE49-F238E27FC236}">
                  <a16:creationId xmlns:a16="http://schemas.microsoft.com/office/drawing/2014/main" id="{8B2460EE-5165-465E-9FF3-58747C6C385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530475" y="602138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65">
              <a:extLst>
                <a:ext uri="{FF2B5EF4-FFF2-40B4-BE49-F238E27FC236}">
                  <a16:creationId xmlns:a16="http://schemas.microsoft.com/office/drawing/2014/main" id="{1452AD59-DA0C-430E-94D9-DE6A1B4A6F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706688" y="602138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66">
              <a:extLst>
                <a:ext uri="{FF2B5EF4-FFF2-40B4-BE49-F238E27FC236}">
                  <a16:creationId xmlns:a16="http://schemas.microsoft.com/office/drawing/2014/main" id="{7D86A419-827F-43EF-BFBF-732B360070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81313" y="602138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Oval 67">
              <a:extLst>
                <a:ext uri="{FF2B5EF4-FFF2-40B4-BE49-F238E27FC236}">
                  <a16:creationId xmlns:a16="http://schemas.microsoft.com/office/drawing/2014/main" id="{D127BC92-0087-4180-B59C-A92D48A56D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57525" y="602138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Oval 68">
              <a:extLst>
                <a:ext uri="{FF2B5EF4-FFF2-40B4-BE49-F238E27FC236}">
                  <a16:creationId xmlns:a16="http://schemas.microsoft.com/office/drawing/2014/main" id="{7DF49FA0-AB89-4A7B-84FE-F11D610A448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32150" y="602138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Oval 69">
              <a:extLst>
                <a:ext uri="{FF2B5EF4-FFF2-40B4-BE49-F238E27FC236}">
                  <a16:creationId xmlns:a16="http://schemas.microsoft.com/office/drawing/2014/main" id="{940C8E51-9BAC-4E3F-94B3-F3A135FDF41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408363" y="602138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Oval 70">
              <a:extLst>
                <a:ext uri="{FF2B5EF4-FFF2-40B4-BE49-F238E27FC236}">
                  <a16:creationId xmlns:a16="http://schemas.microsoft.com/office/drawing/2014/main" id="{F9E36A51-9C48-46F0-9F90-495DAAAE3AB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582988" y="602138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Oval 71">
              <a:extLst>
                <a:ext uri="{FF2B5EF4-FFF2-40B4-BE49-F238E27FC236}">
                  <a16:creationId xmlns:a16="http://schemas.microsoft.com/office/drawing/2014/main" id="{37C5DA0E-DF9C-47BE-9E74-D70503CCA3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759200" y="602138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Oval 72">
              <a:extLst>
                <a:ext uri="{FF2B5EF4-FFF2-40B4-BE49-F238E27FC236}">
                  <a16:creationId xmlns:a16="http://schemas.microsoft.com/office/drawing/2014/main" id="{E3D2566E-35AC-4AEA-A6A8-EAB0C55A95D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933825" y="6021388"/>
              <a:ext cx="104775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Oval 73">
              <a:extLst>
                <a:ext uri="{FF2B5EF4-FFF2-40B4-BE49-F238E27FC236}">
                  <a16:creationId xmlns:a16="http://schemas.microsoft.com/office/drawing/2014/main" id="{11760583-D0A5-4EB8-8E9C-A3FFF959B6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03425" y="5845175"/>
              <a:ext cx="103188" cy="104775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Oval 74">
              <a:extLst>
                <a:ext uri="{FF2B5EF4-FFF2-40B4-BE49-F238E27FC236}">
                  <a16:creationId xmlns:a16="http://schemas.microsoft.com/office/drawing/2014/main" id="{9877CB7B-75F9-40D0-BF2C-73B4EF6B29A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79638" y="5845175"/>
              <a:ext cx="103188" cy="104775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Oval 75">
              <a:extLst>
                <a:ext uri="{FF2B5EF4-FFF2-40B4-BE49-F238E27FC236}">
                  <a16:creationId xmlns:a16="http://schemas.microsoft.com/office/drawing/2014/main" id="{D1E52CF0-44AE-49BD-8FDC-5DF7A47855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54263" y="5845175"/>
              <a:ext cx="104775" cy="104775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Oval 76">
              <a:extLst>
                <a:ext uri="{FF2B5EF4-FFF2-40B4-BE49-F238E27FC236}">
                  <a16:creationId xmlns:a16="http://schemas.microsoft.com/office/drawing/2014/main" id="{B0958B10-C58C-4AC6-B579-0C38B349DA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530475" y="5845175"/>
              <a:ext cx="103188" cy="104775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Oval 77">
              <a:extLst>
                <a:ext uri="{FF2B5EF4-FFF2-40B4-BE49-F238E27FC236}">
                  <a16:creationId xmlns:a16="http://schemas.microsoft.com/office/drawing/2014/main" id="{38347E12-6942-4CD8-9780-75A6FB3881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706688" y="5845175"/>
              <a:ext cx="103188" cy="104775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Oval 78">
              <a:extLst>
                <a:ext uri="{FF2B5EF4-FFF2-40B4-BE49-F238E27FC236}">
                  <a16:creationId xmlns:a16="http://schemas.microsoft.com/office/drawing/2014/main" id="{3B6D8CD7-A027-4449-9A4A-57A9ACA9EA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81313" y="5845175"/>
              <a:ext cx="103188" cy="104775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Oval 79">
              <a:extLst>
                <a:ext uri="{FF2B5EF4-FFF2-40B4-BE49-F238E27FC236}">
                  <a16:creationId xmlns:a16="http://schemas.microsoft.com/office/drawing/2014/main" id="{40D04E69-D221-4C34-B94D-7BE3D1B45D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57525" y="5845175"/>
              <a:ext cx="103188" cy="104775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Oval 80">
              <a:extLst>
                <a:ext uri="{FF2B5EF4-FFF2-40B4-BE49-F238E27FC236}">
                  <a16:creationId xmlns:a16="http://schemas.microsoft.com/office/drawing/2014/main" id="{31794941-864E-4DB5-848C-42F284DE8C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32150" y="5845175"/>
              <a:ext cx="103188" cy="104775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Oval 81">
              <a:extLst>
                <a:ext uri="{FF2B5EF4-FFF2-40B4-BE49-F238E27FC236}">
                  <a16:creationId xmlns:a16="http://schemas.microsoft.com/office/drawing/2014/main" id="{FAB0AD71-A7D9-4113-808C-5504B55EAA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408363" y="5845175"/>
              <a:ext cx="103188" cy="104775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Oval 82">
              <a:extLst>
                <a:ext uri="{FF2B5EF4-FFF2-40B4-BE49-F238E27FC236}">
                  <a16:creationId xmlns:a16="http://schemas.microsoft.com/office/drawing/2014/main" id="{E07C546E-3944-4812-832B-597EEBE77F1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582988" y="5845175"/>
              <a:ext cx="103188" cy="104775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Oval 83">
              <a:extLst>
                <a:ext uri="{FF2B5EF4-FFF2-40B4-BE49-F238E27FC236}">
                  <a16:creationId xmlns:a16="http://schemas.microsoft.com/office/drawing/2014/main" id="{BD584904-002D-4499-8AC3-63CE70B816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759200" y="5845175"/>
              <a:ext cx="103188" cy="104775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Oval 84">
              <a:extLst>
                <a:ext uri="{FF2B5EF4-FFF2-40B4-BE49-F238E27FC236}">
                  <a16:creationId xmlns:a16="http://schemas.microsoft.com/office/drawing/2014/main" id="{C6CF6D3D-DB2C-453D-9F43-96303D3BBE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03425" y="5668963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Oval 85">
              <a:extLst>
                <a:ext uri="{FF2B5EF4-FFF2-40B4-BE49-F238E27FC236}">
                  <a16:creationId xmlns:a16="http://schemas.microsoft.com/office/drawing/2014/main" id="{6F27C9DA-F766-424B-867A-3AD1204476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79638" y="5668963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Oval 86">
              <a:extLst>
                <a:ext uri="{FF2B5EF4-FFF2-40B4-BE49-F238E27FC236}">
                  <a16:creationId xmlns:a16="http://schemas.microsoft.com/office/drawing/2014/main" id="{E9F25F67-C7A6-4465-9E7A-D07F6051AB4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54263" y="5668963"/>
              <a:ext cx="104775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Oval 87">
              <a:extLst>
                <a:ext uri="{FF2B5EF4-FFF2-40B4-BE49-F238E27FC236}">
                  <a16:creationId xmlns:a16="http://schemas.microsoft.com/office/drawing/2014/main" id="{1A0EC208-7534-47CE-9878-390E6275B3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530475" y="5668963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Oval 88">
              <a:extLst>
                <a:ext uri="{FF2B5EF4-FFF2-40B4-BE49-F238E27FC236}">
                  <a16:creationId xmlns:a16="http://schemas.microsoft.com/office/drawing/2014/main" id="{70CB8824-23B0-43C4-B45D-1ADEE4D480C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706688" y="5668963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Oval 89">
              <a:extLst>
                <a:ext uri="{FF2B5EF4-FFF2-40B4-BE49-F238E27FC236}">
                  <a16:creationId xmlns:a16="http://schemas.microsoft.com/office/drawing/2014/main" id="{D25BFCEE-104E-4B7C-A16A-D0506DBCC4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81313" y="5668963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90">
              <a:extLst>
                <a:ext uri="{FF2B5EF4-FFF2-40B4-BE49-F238E27FC236}">
                  <a16:creationId xmlns:a16="http://schemas.microsoft.com/office/drawing/2014/main" id="{6F19C146-9D38-42D5-8CC4-44BDB55BC8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57525" y="5668963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Oval 91">
              <a:extLst>
                <a:ext uri="{FF2B5EF4-FFF2-40B4-BE49-F238E27FC236}">
                  <a16:creationId xmlns:a16="http://schemas.microsoft.com/office/drawing/2014/main" id="{DA549944-41D1-4A08-89A8-F3DE4EB552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32150" y="5668963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Oval 92">
              <a:extLst>
                <a:ext uri="{FF2B5EF4-FFF2-40B4-BE49-F238E27FC236}">
                  <a16:creationId xmlns:a16="http://schemas.microsoft.com/office/drawing/2014/main" id="{787B783D-5CED-4CF0-9633-466A29966D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408363" y="5668963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93">
              <a:extLst>
                <a:ext uri="{FF2B5EF4-FFF2-40B4-BE49-F238E27FC236}">
                  <a16:creationId xmlns:a16="http://schemas.microsoft.com/office/drawing/2014/main" id="{6446FD43-1382-41DC-AFF2-AA4833CC992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582988" y="5668963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94">
              <a:extLst>
                <a:ext uri="{FF2B5EF4-FFF2-40B4-BE49-F238E27FC236}">
                  <a16:creationId xmlns:a16="http://schemas.microsoft.com/office/drawing/2014/main" id="{62D8D88F-D9C7-479B-BC6D-2D5298CBCD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759200" y="5668963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95">
              <a:extLst>
                <a:ext uri="{FF2B5EF4-FFF2-40B4-BE49-F238E27FC236}">
                  <a16:creationId xmlns:a16="http://schemas.microsoft.com/office/drawing/2014/main" id="{F58E947B-DF88-42A9-91B7-546FC5345C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79638" y="549433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96">
              <a:extLst>
                <a:ext uri="{FF2B5EF4-FFF2-40B4-BE49-F238E27FC236}">
                  <a16:creationId xmlns:a16="http://schemas.microsoft.com/office/drawing/2014/main" id="{CDE13C3C-02AD-4479-9527-7DEA9447A34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54263" y="5494338"/>
              <a:ext cx="104775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97">
              <a:extLst>
                <a:ext uri="{FF2B5EF4-FFF2-40B4-BE49-F238E27FC236}">
                  <a16:creationId xmlns:a16="http://schemas.microsoft.com/office/drawing/2014/main" id="{99613941-4328-4CF0-8C41-85A2410547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530475" y="549433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98">
              <a:extLst>
                <a:ext uri="{FF2B5EF4-FFF2-40B4-BE49-F238E27FC236}">
                  <a16:creationId xmlns:a16="http://schemas.microsoft.com/office/drawing/2014/main" id="{DCB98E0B-199C-4408-BBD4-0F51EF02BA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706688" y="549433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99">
              <a:extLst>
                <a:ext uri="{FF2B5EF4-FFF2-40B4-BE49-F238E27FC236}">
                  <a16:creationId xmlns:a16="http://schemas.microsoft.com/office/drawing/2014/main" id="{06138783-D0EC-430B-A0C8-5D11E5A9FA6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81313" y="549433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100">
              <a:extLst>
                <a:ext uri="{FF2B5EF4-FFF2-40B4-BE49-F238E27FC236}">
                  <a16:creationId xmlns:a16="http://schemas.microsoft.com/office/drawing/2014/main" id="{AB90E26C-EA02-4431-BD2E-AD2AC9475BA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57525" y="549433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101">
              <a:extLst>
                <a:ext uri="{FF2B5EF4-FFF2-40B4-BE49-F238E27FC236}">
                  <a16:creationId xmlns:a16="http://schemas.microsoft.com/office/drawing/2014/main" id="{44C5F479-7A3C-4B16-9D78-289660C6E0E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32150" y="549433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102">
              <a:extLst>
                <a:ext uri="{FF2B5EF4-FFF2-40B4-BE49-F238E27FC236}">
                  <a16:creationId xmlns:a16="http://schemas.microsoft.com/office/drawing/2014/main" id="{780AEBB9-FA3D-4597-BFB2-56C9EB09ED6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408363" y="549433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103">
              <a:extLst>
                <a:ext uri="{FF2B5EF4-FFF2-40B4-BE49-F238E27FC236}">
                  <a16:creationId xmlns:a16="http://schemas.microsoft.com/office/drawing/2014/main" id="{A2B43B73-514E-4D99-BCD9-2767D5034E6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582988" y="5494338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104">
              <a:extLst>
                <a:ext uri="{FF2B5EF4-FFF2-40B4-BE49-F238E27FC236}">
                  <a16:creationId xmlns:a16="http://schemas.microsoft.com/office/drawing/2014/main" id="{31557E72-8E04-46F5-958F-074736CF797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54263" y="5318125"/>
              <a:ext cx="104775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105">
              <a:extLst>
                <a:ext uri="{FF2B5EF4-FFF2-40B4-BE49-F238E27FC236}">
                  <a16:creationId xmlns:a16="http://schemas.microsoft.com/office/drawing/2014/main" id="{DFAE5C80-0768-4EA5-BF24-130B748C06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530475" y="531812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Oval 106">
              <a:extLst>
                <a:ext uri="{FF2B5EF4-FFF2-40B4-BE49-F238E27FC236}">
                  <a16:creationId xmlns:a16="http://schemas.microsoft.com/office/drawing/2014/main" id="{9DAB305D-AED5-4BEC-982A-0205C332D2C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706688" y="531812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Oval 107">
              <a:extLst>
                <a:ext uri="{FF2B5EF4-FFF2-40B4-BE49-F238E27FC236}">
                  <a16:creationId xmlns:a16="http://schemas.microsoft.com/office/drawing/2014/main" id="{E869E2E0-811D-4E99-926E-E4AB31C07E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81313" y="531812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Oval 108">
              <a:extLst>
                <a:ext uri="{FF2B5EF4-FFF2-40B4-BE49-F238E27FC236}">
                  <a16:creationId xmlns:a16="http://schemas.microsoft.com/office/drawing/2014/main" id="{FB819E59-4246-4A51-83FF-0DCF1F28BB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57525" y="531812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Oval 109">
              <a:extLst>
                <a:ext uri="{FF2B5EF4-FFF2-40B4-BE49-F238E27FC236}">
                  <a16:creationId xmlns:a16="http://schemas.microsoft.com/office/drawing/2014/main" id="{7EF0352F-7BF0-4BB2-B104-F4F3D85766A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32150" y="531812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Oval 110">
              <a:extLst>
                <a:ext uri="{FF2B5EF4-FFF2-40B4-BE49-F238E27FC236}">
                  <a16:creationId xmlns:a16="http://schemas.microsoft.com/office/drawing/2014/main" id="{1CD5F6AD-8CF7-432A-AF07-ED3DE8F71B6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408363" y="5318125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Oval 111">
              <a:extLst>
                <a:ext uri="{FF2B5EF4-FFF2-40B4-BE49-F238E27FC236}">
                  <a16:creationId xmlns:a16="http://schemas.microsoft.com/office/drawing/2014/main" id="{079C5FAE-74A0-4246-9988-90989D98FA5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706688" y="5143500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Oval 112">
              <a:extLst>
                <a:ext uri="{FF2B5EF4-FFF2-40B4-BE49-F238E27FC236}">
                  <a16:creationId xmlns:a16="http://schemas.microsoft.com/office/drawing/2014/main" id="{842847C9-248E-46A9-8197-EE1F3849B38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81313" y="5143500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Oval 113">
              <a:extLst>
                <a:ext uri="{FF2B5EF4-FFF2-40B4-BE49-F238E27FC236}">
                  <a16:creationId xmlns:a16="http://schemas.microsoft.com/office/drawing/2014/main" id="{4A45A27A-56DD-4F9C-8615-73F8399598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57525" y="5143500"/>
              <a:ext cx="103188" cy="103188"/>
            </a:xfrm>
            <a:prstGeom prst="ellipse">
              <a:avLst/>
            </a:prstGeom>
            <a:solidFill>
              <a:srgbClr val="E1E8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4" name="Text Placeholder 11">
            <a:extLst>
              <a:ext uri="{FF2B5EF4-FFF2-40B4-BE49-F238E27FC236}">
                <a16:creationId xmlns:a16="http://schemas.microsoft.com/office/drawing/2014/main" id="{C0EAA5C8-B3DA-4AEF-A561-CB04DD4FA5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59612" y="2265166"/>
            <a:ext cx="3968606" cy="594921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5" name="Text Placeholder 11">
            <a:extLst>
              <a:ext uri="{FF2B5EF4-FFF2-40B4-BE49-F238E27FC236}">
                <a16:creationId xmlns:a16="http://schemas.microsoft.com/office/drawing/2014/main" id="{24A93FF2-A734-49B9-B83E-37B0D017838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59612" y="2883877"/>
            <a:ext cx="3968606" cy="149415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4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6" name="Text Placeholder 11">
            <a:extLst>
              <a:ext uri="{FF2B5EF4-FFF2-40B4-BE49-F238E27FC236}">
                <a16:creationId xmlns:a16="http://schemas.microsoft.com/office/drawing/2014/main" id="{5EE9E55E-F530-4240-9244-E0CBE46754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03424" y="2444751"/>
            <a:ext cx="3300095" cy="1933286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800" i="1" spc="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0" name="Picture Placeholder 129">
            <a:extLst>
              <a:ext uri="{FF2B5EF4-FFF2-40B4-BE49-F238E27FC236}">
                <a16:creationId xmlns:a16="http://schemas.microsoft.com/office/drawing/2014/main" id="{72EFE4DC-363A-4B6A-8EE9-1BEE76E4A27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159124" y="3746499"/>
            <a:ext cx="6297614" cy="6303964"/>
          </a:xfrm>
          <a:custGeom>
            <a:avLst/>
            <a:gdLst>
              <a:gd name="connsiteX0" fmla="*/ 3148807 w 6297614"/>
              <a:gd name="connsiteY0" fmla="*/ 0 h 6303964"/>
              <a:gd name="connsiteX1" fmla="*/ 3310845 w 6297614"/>
              <a:gd name="connsiteY1" fmla="*/ 4102 h 6303964"/>
              <a:gd name="connsiteX2" fmla="*/ 3373436 w 6297614"/>
              <a:gd name="connsiteY2" fmla="*/ 8866 h 6303964"/>
              <a:gd name="connsiteX3" fmla="*/ 3373436 w 6297614"/>
              <a:gd name="connsiteY3" fmla="*/ 1054100 h 6303964"/>
              <a:gd name="connsiteX4" fmla="*/ 5494205 w 6297614"/>
              <a:gd name="connsiteY4" fmla="*/ 1054100 h 6303964"/>
              <a:gd name="connsiteX5" fmla="*/ 5578580 w 6297614"/>
              <a:gd name="connsiteY5" fmla="*/ 1147029 h 6303964"/>
              <a:gd name="connsiteX6" fmla="*/ 6297614 w 6297614"/>
              <a:gd name="connsiteY6" fmla="*/ 3151982 h 6303964"/>
              <a:gd name="connsiteX7" fmla="*/ 3148807 w 6297614"/>
              <a:gd name="connsiteY7" fmla="*/ 6303964 h 6303964"/>
              <a:gd name="connsiteX8" fmla="*/ 0 w 6297614"/>
              <a:gd name="connsiteY8" fmla="*/ 3151982 h 6303964"/>
              <a:gd name="connsiteX9" fmla="*/ 3148807 w 6297614"/>
              <a:gd name="connsiteY9" fmla="*/ 0 h 6303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97614" h="6303964">
                <a:moveTo>
                  <a:pt x="3148807" y="0"/>
                </a:moveTo>
                <a:cubicBezTo>
                  <a:pt x="3203152" y="0"/>
                  <a:pt x="3257176" y="1378"/>
                  <a:pt x="3310845" y="4102"/>
                </a:cubicBezTo>
                <a:lnTo>
                  <a:pt x="3373436" y="8866"/>
                </a:lnTo>
                <a:lnTo>
                  <a:pt x="3373436" y="1054100"/>
                </a:lnTo>
                <a:lnTo>
                  <a:pt x="5494205" y="1054100"/>
                </a:lnTo>
                <a:lnTo>
                  <a:pt x="5578580" y="1147029"/>
                </a:lnTo>
                <a:cubicBezTo>
                  <a:pt x="6027775" y="1691877"/>
                  <a:pt x="6297614" y="2390386"/>
                  <a:pt x="6297614" y="3151982"/>
                </a:cubicBezTo>
                <a:cubicBezTo>
                  <a:pt x="6297614" y="4892774"/>
                  <a:pt x="4887845" y="6303964"/>
                  <a:pt x="3148807" y="6303964"/>
                </a:cubicBezTo>
                <a:cubicBezTo>
                  <a:pt x="1409769" y="6303964"/>
                  <a:pt x="0" y="4892774"/>
                  <a:pt x="0" y="3151982"/>
                </a:cubicBezTo>
                <a:cubicBezTo>
                  <a:pt x="0" y="1411190"/>
                  <a:pt x="1409769" y="0"/>
                  <a:pt x="3148807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09471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069D331A-9742-4118-A19E-D7CD001FB080}"/>
              </a:ext>
            </a:extLst>
          </p:cNvPr>
          <p:cNvSpPr/>
          <p:nvPr userDrawn="1"/>
        </p:nvSpPr>
        <p:spPr>
          <a:xfrm>
            <a:off x="6836230" y="-3048000"/>
            <a:ext cx="6096000" cy="609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54C0B08B-30B4-4330-9D35-9A3F606DF3B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283708" y="669075"/>
            <a:ext cx="5422392" cy="6188924"/>
          </a:xfrm>
          <a:custGeom>
            <a:avLst/>
            <a:gdLst>
              <a:gd name="connsiteX0" fmla="*/ 2711196 w 5422392"/>
              <a:gd name="connsiteY0" fmla="*/ 0 h 6188924"/>
              <a:gd name="connsiteX1" fmla="*/ 5408394 w 5422392"/>
              <a:gd name="connsiteY1" fmla="*/ 2433992 h 6188924"/>
              <a:gd name="connsiteX2" fmla="*/ 5416058 w 5422392"/>
              <a:gd name="connsiteY2" fmla="*/ 2585761 h 6188924"/>
              <a:gd name="connsiteX3" fmla="*/ 5422392 w 5422392"/>
              <a:gd name="connsiteY3" fmla="*/ 2585761 h 6188924"/>
              <a:gd name="connsiteX4" fmla="*/ 5422392 w 5422392"/>
              <a:gd name="connsiteY4" fmla="*/ 2711196 h 6188924"/>
              <a:gd name="connsiteX5" fmla="*/ 5422392 w 5422392"/>
              <a:gd name="connsiteY5" fmla="*/ 6188924 h 6188924"/>
              <a:gd name="connsiteX6" fmla="*/ 0 w 5422392"/>
              <a:gd name="connsiteY6" fmla="*/ 6188924 h 6188924"/>
              <a:gd name="connsiteX7" fmla="*/ 0 w 5422392"/>
              <a:gd name="connsiteY7" fmla="*/ 2711196 h 6188924"/>
              <a:gd name="connsiteX8" fmla="*/ 0 w 5422392"/>
              <a:gd name="connsiteY8" fmla="*/ 2585761 h 6188924"/>
              <a:gd name="connsiteX9" fmla="*/ 6334 w 5422392"/>
              <a:gd name="connsiteY9" fmla="*/ 2585761 h 6188924"/>
              <a:gd name="connsiteX10" fmla="*/ 13998 w 5422392"/>
              <a:gd name="connsiteY10" fmla="*/ 2433992 h 6188924"/>
              <a:gd name="connsiteX11" fmla="*/ 2711196 w 5422392"/>
              <a:gd name="connsiteY11" fmla="*/ 0 h 6188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22392" h="6188924">
                <a:moveTo>
                  <a:pt x="2711196" y="0"/>
                </a:moveTo>
                <a:cubicBezTo>
                  <a:pt x="4114964" y="0"/>
                  <a:pt x="5269554" y="1066855"/>
                  <a:pt x="5408394" y="2433992"/>
                </a:cubicBezTo>
                <a:lnTo>
                  <a:pt x="5416058" y="2585761"/>
                </a:lnTo>
                <a:lnTo>
                  <a:pt x="5422392" y="2585761"/>
                </a:lnTo>
                <a:lnTo>
                  <a:pt x="5422392" y="2711196"/>
                </a:lnTo>
                <a:lnTo>
                  <a:pt x="5422392" y="6188924"/>
                </a:lnTo>
                <a:lnTo>
                  <a:pt x="0" y="6188924"/>
                </a:lnTo>
                <a:lnTo>
                  <a:pt x="0" y="2711196"/>
                </a:lnTo>
                <a:lnTo>
                  <a:pt x="0" y="2585761"/>
                </a:lnTo>
                <a:lnTo>
                  <a:pt x="6334" y="2585761"/>
                </a:lnTo>
                <a:lnTo>
                  <a:pt x="13998" y="2433992"/>
                </a:lnTo>
                <a:cubicBezTo>
                  <a:pt x="152838" y="1066855"/>
                  <a:pt x="1307429" y="0"/>
                  <a:pt x="2711196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FA173975-DEC0-4233-9868-8B34646A21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488" y="669075"/>
            <a:ext cx="3980251" cy="949570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860B005C-8E1F-4CE7-A21C-4F28E59328B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8083" y="1618645"/>
            <a:ext cx="3965060" cy="1364446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2805328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400" y="102703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7019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DB63863-B1BE-425A-BBDD-53E21D94CF5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178" y="2457273"/>
            <a:ext cx="3170904" cy="3980057"/>
          </a:xfrm>
          <a:custGeom>
            <a:avLst/>
            <a:gdLst>
              <a:gd name="connsiteX0" fmla="*/ 1585452 w 3170904"/>
              <a:gd name="connsiteY0" fmla="*/ 0 h 3980057"/>
              <a:gd name="connsiteX1" fmla="*/ 3170904 w 3170904"/>
              <a:gd name="connsiteY1" fmla="*/ 1640588 h 3980057"/>
              <a:gd name="connsiteX2" fmla="*/ 3162719 w 3170904"/>
              <a:gd name="connsiteY2" fmla="*/ 1808329 h 3980057"/>
              <a:gd name="connsiteX3" fmla="*/ 3158857 w 3170904"/>
              <a:gd name="connsiteY3" fmla="*/ 1834508 h 3980057"/>
              <a:gd name="connsiteX4" fmla="*/ 3170904 w 3170904"/>
              <a:gd name="connsiteY4" fmla="*/ 1834508 h 3980057"/>
              <a:gd name="connsiteX5" fmla="*/ 3170904 w 3170904"/>
              <a:gd name="connsiteY5" fmla="*/ 3980057 h 3980057"/>
              <a:gd name="connsiteX6" fmla="*/ 1 w 3170904"/>
              <a:gd name="connsiteY6" fmla="*/ 3980057 h 3980057"/>
              <a:gd name="connsiteX7" fmla="*/ 1 w 3170904"/>
              <a:gd name="connsiteY7" fmla="*/ 1834508 h 3980057"/>
              <a:gd name="connsiteX8" fmla="*/ 12047 w 3170904"/>
              <a:gd name="connsiteY8" fmla="*/ 1834508 h 3980057"/>
              <a:gd name="connsiteX9" fmla="*/ 8186 w 3170904"/>
              <a:gd name="connsiteY9" fmla="*/ 1808329 h 3980057"/>
              <a:gd name="connsiteX10" fmla="*/ 0 w 3170904"/>
              <a:gd name="connsiteY10" fmla="*/ 1640588 h 3980057"/>
              <a:gd name="connsiteX11" fmla="*/ 1585452 w 3170904"/>
              <a:gd name="connsiteY11" fmla="*/ 0 h 3980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170904" h="3980057">
                <a:moveTo>
                  <a:pt x="1585452" y="0"/>
                </a:moveTo>
                <a:cubicBezTo>
                  <a:pt x="2461073" y="0"/>
                  <a:pt x="3170904" y="734516"/>
                  <a:pt x="3170904" y="1640588"/>
                </a:cubicBezTo>
                <a:cubicBezTo>
                  <a:pt x="3170904" y="1697218"/>
                  <a:pt x="3168131" y="1753177"/>
                  <a:pt x="3162719" y="1808329"/>
                </a:cubicBezTo>
                <a:lnTo>
                  <a:pt x="3158857" y="1834508"/>
                </a:lnTo>
                <a:lnTo>
                  <a:pt x="3170904" y="1834508"/>
                </a:lnTo>
                <a:lnTo>
                  <a:pt x="3170904" y="3980057"/>
                </a:lnTo>
                <a:lnTo>
                  <a:pt x="1" y="3980057"/>
                </a:lnTo>
                <a:lnTo>
                  <a:pt x="1" y="1834508"/>
                </a:lnTo>
                <a:lnTo>
                  <a:pt x="12047" y="1834508"/>
                </a:lnTo>
                <a:lnTo>
                  <a:pt x="8186" y="1808329"/>
                </a:lnTo>
                <a:cubicBezTo>
                  <a:pt x="2773" y="1753177"/>
                  <a:pt x="0" y="1697218"/>
                  <a:pt x="0" y="1640588"/>
                </a:cubicBezTo>
                <a:cubicBezTo>
                  <a:pt x="0" y="734516"/>
                  <a:pt x="709831" y="0"/>
                  <a:pt x="1585452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0B0752E-5AAC-40E2-B115-F040D36A0FC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698659" y="450168"/>
            <a:ext cx="4011560" cy="5987162"/>
          </a:xfr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F99016C5-1A01-4D32-83A3-7E06AF1846A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74572" y="450168"/>
            <a:ext cx="2779776" cy="3281173"/>
          </a:xfrm>
          <a:custGeom>
            <a:avLst/>
            <a:gdLst>
              <a:gd name="connsiteX0" fmla="*/ 1 w 2779776"/>
              <a:gd name="connsiteY0" fmla="*/ 0 h 3281173"/>
              <a:gd name="connsiteX1" fmla="*/ 2777613 w 2779776"/>
              <a:gd name="connsiteY1" fmla="*/ 0 h 3281173"/>
              <a:gd name="connsiteX2" fmla="*/ 2777613 w 2779776"/>
              <a:gd name="connsiteY2" fmla="*/ 1848450 h 3281173"/>
              <a:gd name="connsiteX3" fmla="*/ 2779776 w 2779776"/>
              <a:gd name="connsiteY3" fmla="*/ 1891285 h 3281173"/>
              <a:gd name="connsiteX4" fmla="*/ 1389888 w 2779776"/>
              <a:gd name="connsiteY4" fmla="*/ 3281173 h 3281173"/>
              <a:gd name="connsiteX5" fmla="*/ 7176 w 2779776"/>
              <a:gd name="connsiteY5" fmla="*/ 2033393 h 3281173"/>
              <a:gd name="connsiteX6" fmla="*/ 1342 w 2779776"/>
              <a:gd name="connsiteY6" fmla="*/ 1917855 h 3281173"/>
              <a:gd name="connsiteX7" fmla="*/ 1 w 2779776"/>
              <a:gd name="connsiteY7" fmla="*/ 1917855 h 3281173"/>
              <a:gd name="connsiteX8" fmla="*/ 1 w 2779776"/>
              <a:gd name="connsiteY8" fmla="*/ 1891305 h 3281173"/>
              <a:gd name="connsiteX9" fmla="*/ 0 w 2779776"/>
              <a:gd name="connsiteY9" fmla="*/ 1891285 h 3281173"/>
              <a:gd name="connsiteX10" fmla="*/ 1 w 2779776"/>
              <a:gd name="connsiteY10" fmla="*/ 1891265 h 3281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79776" h="3281173">
                <a:moveTo>
                  <a:pt x="1" y="0"/>
                </a:moveTo>
                <a:lnTo>
                  <a:pt x="2777613" y="0"/>
                </a:lnTo>
                <a:lnTo>
                  <a:pt x="2777613" y="1848450"/>
                </a:lnTo>
                <a:lnTo>
                  <a:pt x="2779776" y="1891285"/>
                </a:lnTo>
                <a:cubicBezTo>
                  <a:pt x="2779776" y="2658899"/>
                  <a:pt x="2157502" y="3281173"/>
                  <a:pt x="1389888" y="3281173"/>
                </a:cubicBezTo>
                <a:cubicBezTo>
                  <a:pt x="670250" y="3281173"/>
                  <a:pt x="78352" y="2734253"/>
                  <a:pt x="7176" y="2033393"/>
                </a:cubicBezTo>
                <a:lnTo>
                  <a:pt x="1342" y="1917855"/>
                </a:lnTo>
                <a:lnTo>
                  <a:pt x="1" y="1917855"/>
                </a:lnTo>
                <a:lnTo>
                  <a:pt x="1" y="1891305"/>
                </a:lnTo>
                <a:lnTo>
                  <a:pt x="0" y="1891285"/>
                </a:lnTo>
                <a:lnTo>
                  <a:pt x="1" y="1891265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500196D4-3CA4-47D0-8B40-125E101420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74573" y="4159941"/>
            <a:ext cx="3056605" cy="791547"/>
          </a:xfrm>
        </p:spPr>
        <p:txBody>
          <a:bodyPr>
            <a:normAutofit/>
          </a:bodyPr>
          <a:lstStyle>
            <a:lvl1pPr marL="0" indent="0" algn="l">
              <a:buNone/>
              <a:defRPr sz="16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BD6DF86E-AD91-404B-9B75-B3A5B69E74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74573" y="4982049"/>
            <a:ext cx="3056606" cy="1455281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E81740AD-FF70-4137-A013-2A8192C8079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177" y="768434"/>
            <a:ext cx="3272913" cy="1688839"/>
          </a:xfrm>
        </p:spPr>
        <p:txBody>
          <a:bodyPr>
            <a:normAutofit/>
          </a:bodyPr>
          <a:lstStyle>
            <a:lvl1pPr marL="0" indent="0" algn="l">
              <a:buNone/>
              <a:defRPr sz="2800" u="none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97142300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F9E314B0-A5A2-42C5-9324-2B1066550F9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70323" y="1"/>
            <a:ext cx="2851354" cy="4055806"/>
          </a:xfr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94BF13CF-A9F1-4CFD-AAF8-6211FD39125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946787"/>
            <a:ext cx="3887822" cy="2109020"/>
          </a:xfrm>
          <a:custGeom>
            <a:avLst/>
            <a:gdLst>
              <a:gd name="connsiteX0" fmla="*/ 0 w 3887822"/>
              <a:gd name="connsiteY0" fmla="*/ 0 h 2109020"/>
              <a:gd name="connsiteX1" fmla="*/ 2831690 w 3887822"/>
              <a:gd name="connsiteY1" fmla="*/ 0 h 2109020"/>
              <a:gd name="connsiteX2" fmla="*/ 3887822 w 3887822"/>
              <a:gd name="connsiteY2" fmla="*/ 1054510 h 2109020"/>
              <a:gd name="connsiteX3" fmla="*/ 2831690 w 3887822"/>
              <a:gd name="connsiteY3" fmla="*/ 2109020 h 2109020"/>
              <a:gd name="connsiteX4" fmla="*/ 0 w 3887822"/>
              <a:gd name="connsiteY4" fmla="*/ 2109020 h 210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7822" h="2109020">
                <a:moveTo>
                  <a:pt x="0" y="0"/>
                </a:moveTo>
                <a:lnTo>
                  <a:pt x="2831690" y="0"/>
                </a:lnTo>
                <a:cubicBezTo>
                  <a:pt x="3414976" y="0"/>
                  <a:pt x="3887822" y="472120"/>
                  <a:pt x="3887822" y="1054510"/>
                </a:cubicBezTo>
                <a:cubicBezTo>
                  <a:pt x="3887822" y="1636900"/>
                  <a:pt x="3414976" y="2109020"/>
                  <a:pt x="2831690" y="2109020"/>
                </a:cubicBezTo>
                <a:lnTo>
                  <a:pt x="0" y="2109020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E5F7D21C-DDA1-41EA-B4B0-7C1F0DB2D51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304178" y="1946787"/>
            <a:ext cx="3887822" cy="2109020"/>
          </a:xfrm>
          <a:custGeom>
            <a:avLst/>
            <a:gdLst>
              <a:gd name="connsiteX0" fmla="*/ 1056132 w 3887822"/>
              <a:gd name="connsiteY0" fmla="*/ 0 h 2109020"/>
              <a:gd name="connsiteX1" fmla="*/ 3887822 w 3887822"/>
              <a:gd name="connsiteY1" fmla="*/ 0 h 2109020"/>
              <a:gd name="connsiteX2" fmla="*/ 3887822 w 3887822"/>
              <a:gd name="connsiteY2" fmla="*/ 2109020 h 2109020"/>
              <a:gd name="connsiteX3" fmla="*/ 1056132 w 3887822"/>
              <a:gd name="connsiteY3" fmla="*/ 2109020 h 2109020"/>
              <a:gd name="connsiteX4" fmla="*/ 0 w 3887822"/>
              <a:gd name="connsiteY4" fmla="*/ 1054510 h 2109020"/>
              <a:gd name="connsiteX5" fmla="*/ 1056132 w 3887822"/>
              <a:gd name="connsiteY5" fmla="*/ 0 h 210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87822" h="2109020">
                <a:moveTo>
                  <a:pt x="1056132" y="0"/>
                </a:moveTo>
                <a:lnTo>
                  <a:pt x="3887822" y="0"/>
                </a:lnTo>
                <a:lnTo>
                  <a:pt x="3887822" y="2109020"/>
                </a:lnTo>
                <a:lnTo>
                  <a:pt x="1056132" y="2109020"/>
                </a:lnTo>
                <a:cubicBezTo>
                  <a:pt x="472846" y="2109020"/>
                  <a:pt x="0" y="1636900"/>
                  <a:pt x="0" y="1054510"/>
                </a:cubicBezTo>
                <a:cubicBezTo>
                  <a:pt x="0" y="472120"/>
                  <a:pt x="472846" y="0"/>
                  <a:pt x="1056132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05852D0-35D4-49D4-B39C-341C8F99E8B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0770" y="4395916"/>
            <a:ext cx="3056605" cy="791547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26A66F0-D458-4702-AD7B-8465FB3A67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0770" y="5218025"/>
            <a:ext cx="3056606" cy="903902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CAC8A10-276E-4058-92EB-57600BDD4C1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6693" y="1046687"/>
            <a:ext cx="4183629" cy="1283110"/>
          </a:xfrm>
        </p:spPr>
        <p:txBody>
          <a:bodyPr>
            <a:normAutofit/>
          </a:bodyPr>
          <a:lstStyle>
            <a:lvl1pPr marL="0" indent="0" algn="l">
              <a:buNone/>
              <a:defRPr sz="3600" u="none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9E2A6B4F-4610-41D0-9E59-07ABE36B9E6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70322" y="4426477"/>
            <a:ext cx="3056605" cy="791547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A7D986E9-C798-40C1-9A39-26BE943E513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70322" y="5248586"/>
            <a:ext cx="3056606" cy="903902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04D68842-9C1F-4590-AC6F-A5DCD2A9DC6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799873" y="4442290"/>
            <a:ext cx="3056605" cy="791547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24F923C9-CFD0-441F-84A3-203F920EA02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99873" y="5279147"/>
            <a:ext cx="3056606" cy="903902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09764691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9493" y="102703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49493" y="6382238"/>
            <a:ext cx="2743200" cy="365125"/>
          </a:xfrm>
        </p:spPr>
        <p:txBody>
          <a:bodyPr/>
          <a:lstStyle>
            <a:lvl1pPr algn="l"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8E481C08-E7F0-46FF-BA42-54A40AA794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339053" y="0"/>
            <a:ext cx="6852947" cy="3908323"/>
          </a:xfr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14A28914-1305-4066-9609-B456A5A987D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003288" y="2278372"/>
            <a:ext cx="4099839" cy="4103866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1409C15B-821D-440F-B230-D8C3A59271E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7488" y="860804"/>
            <a:ext cx="3980251" cy="949570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6353882C-A45E-4299-9FA7-3A2023E578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8083" y="1810374"/>
            <a:ext cx="3965060" cy="1364446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506DB43-468A-42C9-AF8D-2E295A5235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10341" y="4395916"/>
            <a:ext cx="4022897" cy="791547"/>
          </a:xfrm>
        </p:spPr>
        <p:txBody>
          <a:bodyPr>
            <a:normAutofit/>
          </a:bodyPr>
          <a:lstStyle>
            <a:lvl1pPr marL="0" indent="0" algn="l">
              <a:buNone/>
              <a:defRPr sz="16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BCFB7D81-F48A-4F41-B1AC-70A3D6F6454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10341" y="5218025"/>
            <a:ext cx="4022898" cy="903902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427261544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58BE80C-7352-4F60-B511-3EB9CCD6B82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21286" y="3461656"/>
            <a:ext cx="4555444" cy="3103143"/>
          </a:xfr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3D6C91D-19A4-4157-AC2B-CC54C3893C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64470" y="3461653"/>
            <a:ext cx="5555846" cy="3103144"/>
          </a:xfrm>
          <a:custGeom>
            <a:avLst/>
            <a:gdLst>
              <a:gd name="connsiteX0" fmla="*/ 1549908 w 5555846"/>
              <a:gd name="connsiteY0" fmla="*/ 0 h 3103144"/>
              <a:gd name="connsiteX1" fmla="*/ 1688923 w 5555846"/>
              <a:gd name="connsiteY1" fmla="*/ 7027 h 3103144"/>
              <a:gd name="connsiteX2" fmla="*/ 1688923 w 5555846"/>
              <a:gd name="connsiteY2" fmla="*/ 1 h 3103144"/>
              <a:gd name="connsiteX3" fmla="*/ 5555846 w 5555846"/>
              <a:gd name="connsiteY3" fmla="*/ 1 h 3103144"/>
              <a:gd name="connsiteX4" fmla="*/ 5555846 w 5555846"/>
              <a:gd name="connsiteY4" fmla="*/ 3103144 h 3103144"/>
              <a:gd name="connsiteX5" fmla="*/ 1688923 w 5555846"/>
              <a:gd name="connsiteY5" fmla="*/ 3103144 h 3103144"/>
              <a:gd name="connsiteX6" fmla="*/ 1688923 w 5555846"/>
              <a:gd name="connsiteY6" fmla="*/ 3096117 h 3103144"/>
              <a:gd name="connsiteX7" fmla="*/ 1549908 w 5555846"/>
              <a:gd name="connsiteY7" fmla="*/ 3103144 h 3103144"/>
              <a:gd name="connsiteX8" fmla="*/ 0 w 5555846"/>
              <a:gd name="connsiteY8" fmla="*/ 1551572 h 3103144"/>
              <a:gd name="connsiteX9" fmla="*/ 1549908 w 5555846"/>
              <a:gd name="connsiteY9" fmla="*/ 0 h 3103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555846" h="3103144">
                <a:moveTo>
                  <a:pt x="1549908" y="0"/>
                </a:moveTo>
                <a:lnTo>
                  <a:pt x="1688923" y="7027"/>
                </a:lnTo>
                <a:lnTo>
                  <a:pt x="1688923" y="1"/>
                </a:lnTo>
                <a:lnTo>
                  <a:pt x="5555846" y="1"/>
                </a:lnTo>
                <a:lnTo>
                  <a:pt x="5555846" y="3103144"/>
                </a:lnTo>
                <a:lnTo>
                  <a:pt x="1688923" y="3103144"/>
                </a:lnTo>
                <a:lnTo>
                  <a:pt x="1688923" y="3096117"/>
                </a:lnTo>
                <a:lnTo>
                  <a:pt x="1549908" y="3103144"/>
                </a:lnTo>
                <a:cubicBezTo>
                  <a:pt x="693917" y="3103144"/>
                  <a:pt x="0" y="2408482"/>
                  <a:pt x="0" y="1551572"/>
                </a:cubicBezTo>
                <a:cubicBezTo>
                  <a:pt x="0" y="694662"/>
                  <a:pt x="693917" y="0"/>
                  <a:pt x="1549908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A21D0A4B-0FF3-426D-9558-3301250BAE7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7488" y="860803"/>
            <a:ext cx="2843541" cy="2052635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9C368A4-E09C-46BF-B713-0AEB3EC2AD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42392" y="860802"/>
            <a:ext cx="4225951" cy="2052635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2CA6B34-321F-46FE-9882-FC08B783AB3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79706" y="860803"/>
            <a:ext cx="3197023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A3649CFF-CF63-4B2E-8FEE-9FB60C4062B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79706" y="1161060"/>
            <a:ext cx="3197024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F51668DA-C540-4A8A-ADA3-C3699E6C326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79706" y="1952471"/>
            <a:ext cx="3197023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E640A516-C03F-4048-BD88-3F52FC993F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79706" y="2252728"/>
            <a:ext cx="3197024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210641825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CB6489E6-F354-440A-8AE5-FDC5C95F72F1}"/>
              </a:ext>
            </a:extLst>
          </p:cNvPr>
          <p:cNvGrpSpPr/>
          <p:nvPr userDrawn="1"/>
        </p:nvGrpSpPr>
        <p:grpSpPr>
          <a:xfrm>
            <a:off x="2637487" y="2540488"/>
            <a:ext cx="4168642" cy="3841750"/>
            <a:chOff x="1438275" y="2505075"/>
            <a:chExt cx="2206625" cy="2033588"/>
          </a:xfrm>
          <a:solidFill>
            <a:srgbClr val="00B0F0"/>
          </a:solidFill>
        </p:grpSpPr>
        <p:sp>
          <p:nvSpPr>
            <p:cNvPr id="31" name="Oval 177">
              <a:extLst>
                <a:ext uri="{FF2B5EF4-FFF2-40B4-BE49-F238E27FC236}">
                  <a16:creationId xmlns:a16="http://schemas.microsoft.com/office/drawing/2014/main" id="{CA62203C-C96E-431A-BBA9-6B3EC84A7E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178">
              <a:extLst>
                <a:ext uri="{FF2B5EF4-FFF2-40B4-BE49-F238E27FC236}">
                  <a16:creationId xmlns:a16="http://schemas.microsoft.com/office/drawing/2014/main" id="{3B64A96C-F751-45E1-889E-411378687D8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179">
              <a:extLst>
                <a:ext uri="{FF2B5EF4-FFF2-40B4-BE49-F238E27FC236}">
                  <a16:creationId xmlns:a16="http://schemas.microsoft.com/office/drawing/2014/main" id="{A0FBCAFE-7513-4043-8E14-D18EF012D0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180">
              <a:extLst>
                <a:ext uri="{FF2B5EF4-FFF2-40B4-BE49-F238E27FC236}">
                  <a16:creationId xmlns:a16="http://schemas.microsoft.com/office/drawing/2014/main" id="{DDAEFBCE-84ED-4A6C-93B6-4D630BC3E0B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181">
              <a:extLst>
                <a:ext uri="{FF2B5EF4-FFF2-40B4-BE49-F238E27FC236}">
                  <a16:creationId xmlns:a16="http://schemas.microsoft.com/office/drawing/2014/main" id="{4CF7CA10-3762-434D-A17E-3FA25C2460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182">
              <a:extLst>
                <a:ext uri="{FF2B5EF4-FFF2-40B4-BE49-F238E27FC236}">
                  <a16:creationId xmlns:a16="http://schemas.microsoft.com/office/drawing/2014/main" id="{7A75D6B9-2C97-435E-A19F-3AFAC243774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183">
              <a:extLst>
                <a:ext uri="{FF2B5EF4-FFF2-40B4-BE49-F238E27FC236}">
                  <a16:creationId xmlns:a16="http://schemas.microsoft.com/office/drawing/2014/main" id="{C1CBA192-A15B-4159-9E73-7AFFD95721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184">
              <a:extLst>
                <a:ext uri="{FF2B5EF4-FFF2-40B4-BE49-F238E27FC236}">
                  <a16:creationId xmlns:a16="http://schemas.microsoft.com/office/drawing/2014/main" id="{8FC8E664-C6E1-4D3A-B293-50957B8B86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185">
              <a:extLst>
                <a:ext uri="{FF2B5EF4-FFF2-40B4-BE49-F238E27FC236}">
                  <a16:creationId xmlns:a16="http://schemas.microsoft.com/office/drawing/2014/main" id="{B36F54FE-CA8C-475E-B5D9-49136F236BC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186">
              <a:extLst>
                <a:ext uri="{FF2B5EF4-FFF2-40B4-BE49-F238E27FC236}">
                  <a16:creationId xmlns:a16="http://schemas.microsoft.com/office/drawing/2014/main" id="{BADFD84A-74EB-46BC-9748-E3ADAF672E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187">
              <a:extLst>
                <a:ext uri="{FF2B5EF4-FFF2-40B4-BE49-F238E27FC236}">
                  <a16:creationId xmlns:a16="http://schemas.microsoft.com/office/drawing/2014/main" id="{D90A6A08-E54C-44E4-BCC7-221C264BC3C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42592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188">
              <a:extLst>
                <a:ext uri="{FF2B5EF4-FFF2-40B4-BE49-F238E27FC236}">
                  <a16:creationId xmlns:a16="http://schemas.microsoft.com/office/drawing/2014/main" id="{F67E70AE-896C-40D1-923F-62FBF5FE4A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408463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Oval 189">
              <a:extLst>
                <a:ext uri="{FF2B5EF4-FFF2-40B4-BE49-F238E27FC236}">
                  <a16:creationId xmlns:a16="http://schemas.microsoft.com/office/drawing/2014/main" id="{68E0FABF-4717-4D98-9620-0965775F812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Oval 190">
              <a:extLst>
                <a:ext uri="{FF2B5EF4-FFF2-40B4-BE49-F238E27FC236}">
                  <a16:creationId xmlns:a16="http://schemas.microsoft.com/office/drawing/2014/main" id="{A0C0BA0E-53AE-4634-9B49-36513B07C4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Oval 191">
              <a:extLst>
                <a:ext uri="{FF2B5EF4-FFF2-40B4-BE49-F238E27FC236}">
                  <a16:creationId xmlns:a16="http://schemas.microsoft.com/office/drawing/2014/main" id="{CBD9CACF-BBA4-4F75-81B6-886496E7C5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Oval 192">
              <a:extLst>
                <a:ext uri="{FF2B5EF4-FFF2-40B4-BE49-F238E27FC236}">
                  <a16:creationId xmlns:a16="http://schemas.microsoft.com/office/drawing/2014/main" id="{11B7BE22-43D8-4B2D-A491-D8F0ED91887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Oval 193">
              <a:extLst>
                <a:ext uri="{FF2B5EF4-FFF2-40B4-BE49-F238E27FC236}">
                  <a16:creationId xmlns:a16="http://schemas.microsoft.com/office/drawing/2014/main" id="{098B8CD9-5B3E-4161-85B4-5F6AD7C289A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Oval 194">
              <a:extLst>
                <a:ext uri="{FF2B5EF4-FFF2-40B4-BE49-F238E27FC236}">
                  <a16:creationId xmlns:a16="http://schemas.microsoft.com/office/drawing/2014/main" id="{2F4FAEF9-2D9C-4685-BC39-8141F9B62F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Oval 195">
              <a:extLst>
                <a:ext uri="{FF2B5EF4-FFF2-40B4-BE49-F238E27FC236}">
                  <a16:creationId xmlns:a16="http://schemas.microsoft.com/office/drawing/2014/main" id="{E4E65350-3EC0-4713-BC63-493CA065431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408463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Oval 196">
              <a:extLst>
                <a:ext uri="{FF2B5EF4-FFF2-40B4-BE49-F238E27FC236}">
                  <a16:creationId xmlns:a16="http://schemas.microsoft.com/office/drawing/2014/main" id="{3E193CC3-3FF5-4A6F-AD6C-52E610DD0CA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Oval 197">
              <a:extLst>
                <a:ext uri="{FF2B5EF4-FFF2-40B4-BE49-F238E27FC236}">
                  <a16:creationId xmlns:a16="http://schemas.microsoft.com/office/drawing/2014/main" id="{9CAD4399-E905-4C47-938A-B07F98788C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Oval 198">
              <a:extLst>
                <a:ext uri="{FF2B5EF4-FFF2-40B4-BE49-F238E27FC236}">
                  <a16:creationId xmlns:a16="http://schemas.microsoft.com/office/drawing/2014/main" id="{8011FFF8-5B0C-4339-9489-D0FAFD2CBD9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9084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Oval 199">
              <a:extLst>
                <a:ext uri="{FF2B5EF4-FFF2-40B4-BE49-F238E27FC236}">
                  <a16:creationId xmlns:a16="http://schemas.microsoft.com/office/drawing/2014/main" id="{F83ABD19-B749-46A5-A8F3-1AE557C654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Oval 200">
              <a:extLst>
                <a:ext uri="{FF2B5EF4-FFF2-40B4-BE49-F238E27FC236}">
                  <a16:creationId xmlns:a16="http://schemas.microsoft.com/office/drawing/2014/main" id="{BD5A1C7C-037D-4815-93E5-2F514389AF3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Oval 201">
              <a:extLst>
                <a:ext uri="{FF2B5EF4-FFF2-40B4-BE49-F238E27FC236}">
                  <a16:creationId xmlns:a16="http://schemas.microsoft.com/office/drawing/2014/main" id="{D4898733-66E9-47BA-B143-0944B94008A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Oval 202">
              <a:extLst>
                <a:ext uri="{FF2B5EF4-FFF2-40B4-BE49-F238E27FC236}">
                  <a16:creationId xmlns:a16="http://schemas.microsoft.com/office/drawing/2014/main" id="{B5E36668-3D00-4282-B58A-323CB66DD1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Oval 203">
              <a:extLst>
                <a:ext uri="{FF2B5EF4-FFF2-40B4-BE49-F238E27FC236}">
                  <a16:creationId xmlns:a16="http://schemas.microsoft.com/office/drawing/2014/main" id="{1876A864-FE7D-4A79-98AB-4484D9F8428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Oval 204">
              <a:extLst>
                <a:ext uri="{FF2B5EF4-FFF2-40B4-BE49-F238E27FC236}">
                  <a16:creationId xmlns:a16="http://schemas.microsoft.com/office/drawing/2014/main" id="{28269FA1-4FA5-46D6-A923-FFA4DC93FF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Oval 205">
              <a:extLst>
                <a:ext uri="{FF2B5EF4-FFF2-40B4-BE49-F238E27FC236}">
                  <a16:creationId xmlns:a16="http://schemas.microsoft.com/office/drawing/2014/main" id="{9336F6E5-F552-4146-913D-BE5130583B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9084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Oval 206">
              <a:extLst>
                <a:ext uri="{FF2B5EF4-FFF2-40B4-BE49-F238E27FC236}">
                  <a16:creationId xmlns:a16="http://schemas.microsoft.com/office/drawing/2014/main" id="{8D42950D-28B0-4E85-9394-97315F566D7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Oval 207">
              <a:extLst>
                <a:ext uri="{FF2B5EF4-FFF2-40B4-BE49-F238E27FC236}">
                  <a16:creationId xmlns:a16="http://schemas.microsoft.com/office/drawing/2014/main" id="{AAE357A2-66DE-483B-8428-5AD203FAC31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Oval 208">
              <a:extLst>
                <a:ext uri="{FF2B5EF4-FFF2-40B4-BE49-F238E27FC236}">
                  <a16:creationId xmlns:a16="http://schemas.microsoft.com/office/drawing/2014/main" id="{8414EC7D-13ED-4C7A-B89D-EAF5C3ED43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Oval 209">
              <a:extLst>
                <a:ext uri="{FF2B5EF4-FFF2-40B4-BE49-F238E27FC236}">
                  <a16:creationId xmlns:a16="http://schemas.microsoft.com/office/drawing/2014/main" id="{60669C57-6968-4B1C-B41F-501A00793F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73380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210">
              <a:extLst>
                <a:ext uri="{FF2B5EF4-FFF2-40B4-BE49-F238E27FC236}">
                  <a16:creationId xmlns:a16="http://schemas.microsoft.com/office/drawing/2014/main" id="{AEA086DF-AAB6-4AE8-BF25-2C4D8D3E03C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Oval 211">
              <a:extLst>
                <a:ext uri="{FF2B5EF4-FFF2-40B4-BE49-F238E27FC236}">
                  <a16:creationId xmlns:a16="http://schemas.microsoft.com/office/drawing/2014/main" id="{553705BB-38F3-4E06-91D1-02A08E0F7F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Oval 212">
              <a:extLst>
                <a:ext uri="{FF2B5EF4-FFF2-40B4-BE49-F238E27FC236}">
                  <a16:creationId xmlns:a16="http://schemas.microsoft.com/office/drawing/2014/main" id="{9CA1105F-346A-4715-81B4-9FF83DCC09E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Oval 213">
              <a:extLst>
                <a:ext uri="{FF2B5EF4-FFF2-40B4-BE49-F238E27FC236}">
                  <a16:creationId xmlns:a16="http://schemas.microsoft.com/office/drawing/2014/main" id="{C2A9AE00-482B-4070-AB5C-F959103E45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Oval 214">
              <a:extLst>
                <a:ext uri="{FF2B5EF4-FFF2-40B4-BE49-F238E27FC236}">
                  <a16:creationId xmlns:a16="http://schemas.microsoft.com/office/drawing/2014/main" id="{1AB09157-1D83-4251-A6A2-802A5FBB38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215">
              <a:extLst>
                <a:ext uri="{FF2B5EF4-FFF2-40B4-BE49-F238E27FC236}">
                  <a16:creationId xmlns:a16="http://schemas.microsoft.com/office/drawing/2014/main" id="{3DA12F3C-A6FC-4023-A332-0367697D9F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216">
              <a:extLst>
                <a:ext uri="{FF2B5EF4-FFF2-40B4-BE49-F238E27FC236}">
                  <a16:creationId xmlns:a16="http://schemas.microsoft.com/office/drawing/2014/main" id="{183D05BC-9925-4A68-98E0-DE662CB0EDD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73380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217">
              <a:extLst>
                <a:ext uri="{FF2B5EF4-FFF2-40B4-BE49-F238E27FC236}">
                  <a16:creationId xmlns:a16="http://schemas.microsoft.com/office/drawing/2014/main" id="{CE7F8525-6779-4DD4-A245-4EA861B682F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218">
              <a:extLst>
                <a:ext uri="{FF2B5EF4-FFF2-40B4-BE49-F238E27FC236}">
                  <a16:creationId xmlns:a16="http://schemas.microsoft.com/office/drawing/2014/main" id="{3D3037EF-BB77-42B8-BC57-7FF80B95B7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Oval 219">
              <a:extLst>
                <a:ext uri="{FF2B5EF4-FFF2-40B4-BE49-F238E27FC236}">
                  <a16:creationId xmlns:a16="http://schemas.microsoft.com/office/drawing/2014/main" id="{149A87BF-BDFE-4200-A71D-B20E2F509B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Oval 220">
              <a:extLst>
                <a:ext uri="{FF2B5EF4-FFF2-40B4-BE49-F238E27FC236}">
                  <a16:creationId xmlns:a16="http://schemas.microsoft.com/office/drawing/2014/main" id="{92C11FA8-D612-4685-8D60-A888E66264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5575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Oval 221">
              <a:extLst>
                <a:ext uri="{FF2B5EF4-FFF2-40B4-BE49-F238E27FC236}">
                  <a16:creationId xmlns:a16="http://schemas.microsoft.com/office/drawing/2014/main" id="{03DC17C5-9C44-4265-85F2-B8E1F23AC4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Oval 222">
              <a:extLst>
                <a:ext uri="{FF2B5EF4-FFF2-40B4-BE49-F238E27FC236}">
                  <a16:creationId xmlns:a16="http://schemas.microsoft.com/office/drawing/2014/main" id="{11D1BCB7-4D24-41D0-9668-B4A4A5A34E2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Oval 223">
              <a:extLst>
                <a:ext uri="{FF2B5EF4-FFF2-40B4-BE49-F238E27FC236}">
                  <a16:creationId xmlns:a16="http://schemas.microsoft.com/office/drawing/2014/main" id="{94577712-9BE0-4D10-A9AB-618AF982B4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Oval 224">
              <a:extLst>
                <a:ext uri="{FF2B5EF4-FFF2-40B4-BE49-F238E27FC236}">
                  <a16:creationId xmlns:a16="http://schemas.microsoft.com/office/drawing/2014/main" id="{BA12E16F-049C-4090-AB00-5EDD6B1D24D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Oval 225">
              <a:extLst>
                <a:ext uri="{FF2B5EF4-FFF2-40B4-BE49-F238E27FC236}">
                  <a16:creationId xmlns:a16="http://schemas.microsoft.com/office/drawing/2014/main" id="{32C380F3-A271-481E-B7D8-2BEE84975FF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Oval 226">
              <a:extLst>
                <a:ext uri="{FF2B5EF4-FFF2-40B4-BE49-F238E27FC236}">
                  <a16:creationId xmlns:a16="http://schemas.microsoft.com/office/drawing/2014/main" id="{68136A39-EE5A-4440-9444-B4398D3851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Oval 227">
              <a:extLst>
                <a:ext uri="{FF2B5EF4-FFF2-40B4-BE49-F238E27FC236}">
                  <a16:creationId xmlns:a16="http://schemas.microsoft.com/office/drawing/2014/main" id="{26BFFE79-7D31-4354-B3B3-E9A6CD9399D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5575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Oval 228">
              <a:extLst>
                <a:ext uri="{FF2B5EF4-FFF2-40B4-BE49-F238E27FC236}">
                  <a16:creationId xmlns:a16="http://schemas.microsoft.com/office/drawing/2014/main" id="{8336A815-0538-4C64-838E-760CD7507AD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Oval 229">
              <a:extLst>
                <a:ext uri="{FF2B5EF4-FFF2-40B4-BE49-F238E27FC236}">
                  <a16:creationId xmlns:a16="http://schemas.microsoft.com/office/drawing/2014/main" id="{EA3D53EB-51D4-4147-B503-9FB5D8EC43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Oval 230">
              <a:extLst>
                <a:ext uri="{FF2B5EF4-FFF2-40B4-BE49-F238E27FC236}">
                  <a16:creationId xmlns:a16="http://schemas.microsoft.com/office/drawing/2014/main" id="{4E861ED9-E95F-49FB-96D9-37C55DEB60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4382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Oval 231">
              <a:extLst>
                <a:ext uri="{FF2B5EF4-FFF2-40B4-BE49-F238E27FC236}">
                  <a16:creationId xmlns:a16="http://schemas.microsoft.com/office/drawing/2014/main" id="{AA103798-C33E-4C15-86C5-187F61B1763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Oval 232">
              <a:extLst>
                <a:ext uri="{FF2B5EF4-FFF2-40B4-BE49-F238E27FC236}">
                  <a16:creationId xmlns:a16="http://schemas.microsoft.com/office/drawing/2014/main" id="{F799D539-EE4D-490C-B29B-94CC64E503B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3829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Oval 233">
              <a:extLst>
                <a:ext uri="{FF2B5EF4-FFF2-40B4-BE49-F238E27FC236}">
                  <a16:creationId xmlns:a16="http://schemas.microsoft.com/office/drawing/2014/main" id="{96974544-C369-4F07-8426-B90D78A723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Oval 234">
              <a:extLst>
                <a:ext uri="{FF2B5EF4-FFF2-40B4-BE49-F238E27FC236}">
                  <a16:creationId xmlns:a16="http://schemas.microsoft.com/office/drawing/2014/main" id="{E245D8D4-531F-4C4B-9B44-631FCBC41E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Oval 235">
              <a:extLst>
                <a:ext uri="{FF2B5EF4-FFF2-40B4-BE49-F238E27FC236}">
                  <a16:creationId xmlns:a16="http://schemas.microsoft.com/office/drawing/2014/main" id="{EE43B1AA-7363-4CC6-925D-50D6AD1590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Oval 236">
              <a:extLst>
                <a:ext uri="{FF2B5EF4-FFF2-40B4-BE49-F238E27FC236}">
                  <a16:creationId xmlns:a16="http://schemas.microsoft.com/office/drawing/2014/main" id="{C5582C37-2111-4E93-AF57-CE1E3CB00B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Oval 237">
              <a:extLst>
                <a:ext uri="{FF2B5EF4-FFF2-40B4-BE49-F238E27FC236}">
                  <a16:creationId xmlns:a16="http://schemas.microsoft.com/office/drawing/2014/main" id="{FB31606E-2E60-40A3-A282-7542C23F54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Oval 238">
              <a:extLst>
                <a:ext uri="{FF2B5EF4-FFF2-40B4-BE49-F238E27FC236}">
                  <a16:creationId xmlns:a16="http://schemas.microsoft.com/office/drawing/2014/main" id="{5C059D0B-9BE3-4578-9403-9BA96CB7B3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Oval 239">
              <a:extLst>
                <a:ext uri="{FF2B5EF4-FFF2-40B4-BE49-F238E27FC236}">
                  <a16:creationId xmlns:a16="http://schemas.microsoft.com/office/drawing/2014/main" id="{0EF93DF4-DD7E-48BA-B894-CAE89A97FE3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3829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Oval 240">
              <a:extLst>
                <a:ext uri="{FF2B5EF4-FFF2-40B4-BE49-F238E27FC236}">
                  <a16:creationId xmlns:a16="http://schemas.microsoft.com/office/drawing/2014/main" id="{B5A5CAF8-993A-4EFA-9075-DC3199C867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Oval 241">
              <a:extLst>
                <a:ext uri="{FF2B5EF4-FFF2-40B4-BE49-F238E27FC236}">
                  <a16:creationId xmlns:a16="http://schemas.microsoft.com/office/drawing/2014/main" id="{064AF5E6-0188-47B7-A893-D211A68E50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242">
              <a:extLst>
                <a:ext uri="{FF2B5EF4-FFF2-40B4-BE49-F238E27FC236}">
                  <a16:creationId xmlns:a16="http://schemas.microsoft.com/office/drawing/2014/main" id="{093DEC3C-2266-43CC-9ACB-21DB037A371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54171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Oval 243">
              <a:extLst>
                <a:ext uri="{FF2B5EF4-FFF2-40B4-BE49-F238E27FC236}">
                  <a16:creationId xmlns:a16="http://schemas.microsoft.com/office/drawing/2014/main" id="{9F8FE0FF-DB3E-4EF3-AD57-F903CAC17C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Oval 244">
              <a:extLst>
                <a:ext uri="{FF2B5EF4-FFF2-40B4-BE49-F238E27FC236}">
                  <a16:creationId xmlns:a16="http://schemas.microsoft.com/office/drawing/2014/main" id="{5EDF6419-1727-485C-891B-752CC56E8D2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20675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245">
              <a:extLst>
                <a:ext uri="{FF2B5EF4-FFF2-40B4-BE49-F238E27FC236}">
                  <a16:creationId xmlns:a16="http://schemas.microsoft.com/office/drawing/2014/main" id="{FF6EE53C-7894-475D-9C31-0588EBF007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246">
              <a:extLst>
                <a:ext uri="{FF2B5EF4-FFF2-40B4-BE49-F238E27FC236}">
                  <a16:creationId xmlns:a16="http://schemas.microsoft.com/office/drawing/2014/main" id="{E25F48A3-BC36-4E73-8BED-B99084EBFF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247">
              <a:extLst>
                <a:ext uri="{FF2B5EF4-FFF2-40B4-BE49-F238E27FC236}">
                  <a16:creationId xmlns:a16="http://schemas.microsoft.com/office/drawing/2014/main" id="{01F8E328-D930-4D34-B31D-39381699A6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248">
              <a:extLst>
                <a:ext uri="{FF2B5EF4-FFF2-40B4-BE49-F238E27FC236}">
                  <a16:creationId xmlns:a16="http://schemas.microsoft.com/office/drawing/2014/main" id="{48EF7A17-7A8A-4CA1-8BA7-FE401CE6597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249">
              <a:extLst>
                <a:ext uri="{FF2B5EF4-FFF2-40B4-BE49-F238E27FC236}">
                  <a16:creationId xmlns:a16="http://schemas.microsoft.com/office/drawing/2014/main" id="{D9461C5E-895A-4CC9-A0AD-90DD8330C7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250">
              <a:extLst>
                <a:ext uri="{FF2B5EF4-FFF2-40B4-BE49-F238E27FC236}">
                  <a16:creationId xmlns:a16="http://schemas.microsoft.com/office/drawing/2014/main" id="{FFBD1532-B435-4865-83A2-6B6FCD44CA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251">
              <a:extLst>
                <a:ext uri="{FF2B5EF4-FFF2-40B4-BE49-F238E27FC236}">
                  <a16:creationId xmlns:a16="http://schemas.microsoft.com/office/drawing/2014/main" id="{5FB9FCD2-F857-49C1-A74C-2EE41F65DB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20675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252">
              <a:extLst>
                <a:ext uri="{FF2B5EF4-FFF2-40B4-BE49-F238E27FC236}">
                  <a16:creationId xmlns:a16="http://schemas.microsoft.com/office/drawing/2014/main" id="{0C7AB1C2-ADC1-4E13-A380-CFF51FFF4E4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253">
              <a:extLst>
                <a:ext uri="{FF2B5EF4-FFF2-40B4-BE49-F238E27FC236}">
                  <a16:creationId xmlns:a16="http://schemas.microsoft.com/office/drawing/2014/main" id="{7A0F903C-1E0E-43B4-8460-3B9F851429A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254">
              <a:extLst>
                <a:ext uri="{FF2B5EF4-FFF2-40B4-BE49-F238E27FC236}">
                  <a16:creationId xmlns:a16="http://schemas.microsoft.com/office/drawing/2014/main" id="{EA7CFA8C-7515-4231-9BEC-7CF496974A7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255">
              <a:extLst>
                <a:ext uri="{FF2B5EF4-FFF2-40B4-BE49-F238E27FC236}">
                  <a16:creationId xmlns:a16="http://schemas.microsoft.com/office/drawing/2014/main" id="{8E57953E-6E91-4B25-8571-16E0D4687C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0321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256">
              <a:extLst>
                <a:ext uri="{FF2B5EF4-FFF2-40B4-BE49-F238E27FC236}">
                  <a16:creationId xmlns:a16="http://schemas.microsoft.com/office/drawing/2014/main" id="{903474B9-4050-4539-BE10-7602EEBB7BF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257">
              <a:extLst>
                <a:ext uri="{FF2B5EF4-FFF2-40B4-BE49-F238E27FC236}">
                  <a16:creationId xmlns:a16="http://schemas.microsoft.com/office/drawing/2014/main" id="{CB7DB5A2-6CF2-4A1B-A1EC-E3DF837CAEC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Oval 258">
              <a:extLst>
                <a:ext uri="{FF2B5EF4-FFF2-40B4-BE49-F238E27FC236}">
                  <a16:creationId xmlns:a16="http://schemas.microsoft.com/office/drawing/2014/main" id="{2EFB819A-6342-4698-B2A3-D2EB1E6E3CE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Oval 259">
              <a:extLst>
                <a:ext uri="{FF2B5EF4-FFF2-40B4-BE49-F238E27FC236}">
                  <a16:creationId xmlns:a16="http://schemas.microsoft.com/office/drawing/2014/main" id="{F1630C05-6E47-4804-A18D-1CDD3F24E32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Oval 260">
              <a:extLst>
                <a:ext uri="{FF2B5EF4-FFF2-40B4-BE49-F238E27FC236}">
                  <a16:creationId xmlns:a16="http://schemas.microsoft.com/office/drawing/2014/main" id="{135E9AA3-E3A0-4505-A5A2-17A76DBA4C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Oval 261">
              <a:extLst>
                <a:ext uri="{FF2B5EF4-FFF2-40B4-BE49-F238E27FC236}">
                  <a16:creationId xmlns:a16="http://schemas.microsoft.com/office/drawing/2014/main" id="{E4901335-8614-42CF-B51A-95DE9A25A4B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Oval 262">
              <a:extLst>
                <a:ext uri="{FF2B5EF4-FFF2-40B4-BE49-F238E27FC236}">
                  <a16:creationId xmlns:a16="http://schemas.microsoft.com/office/drawing/2014/main" id="{559E2491-7443-4890-AEAB-CE893420F9C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0321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Oval 263">
              <a:extLst>
                <a:ext uri="{FF2B5EF4-FFF2-40B4-BE49-F238E27FC236}">
                  <a16:creationId xmlns:a16="http://schemas.microsoft.com/office/drawing/2014/main" id="{5A91E25E-35D0-4882-AF2B-BA325CCCDE6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Oval 264">
              <a:extLst>
                <a:ext uri="{FF2B5EF4-FFF2-40B4-BE49-F238E27FC236}">
                  <a16:creationId xmlns:a16="http://schemas.microsoft.com/office/drawing/2014/main" id="{5157A30D-E7ED-4681-A49E-CFF948F702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Oval 265">
              <a:extLst>
                <a:ext uri="{FF2B5EF4-FFF2-40B4-BE49-F238E27FC236}">
                  <a16:creationId xmlns:a16="http://schemas.microsoft.com/office/drawing/2014/main" id="{62342ED0-6CB4-4344-9A57-8608230BCB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285591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Oval 266">
              <a:extLst>
                <a:ext uri="{FF2B5EF4-FFF2-40B4-BE49-F238E27FC236}">
                  <a16:creationId xmlns:a16="http://schemas.microsoft.com/office/drawing/2014/main" id="{18553A52-BF9D-494F-AB2F-4502A7F97FC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Oval 267">
              <a:extLst>
                <a:ext uri="{FF2B5EF4-FFF2-40B4-BE49-F238E27FC236}">
                  <a16:creationId xmlns:a16="http://schemas.microsoft.com/office/drawing/2014/main" id="{8AFB2206-DC36-484C-94C1-3FEAD72795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Oval 268">
              <a:extLst>
                <a:ext uri="{FF2B5EF4-FFF2-40B4-BE49-F238E27FC236}">
                  <a16:creationId xmlns:a16="http://schemas.microsoft.com/office/drawing/2014/main" id="{EF437F7C-1C09-48E2-8EA8-15523DF29D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269">
              <a:extLst>
                <a:ext uri="{FF2B5EF4-FFF2-40B4-BE49-F238E27FC236}">
                  <a16:creationId xmlns:a16="http://schemas.microsoft.com/office/drawing/2014/main" id="{F080CE0B-6EE4-43EE-8C65-F15FC6D86B2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270">
              <a:extLst>
                <a:ext uri="{FF2B5EF4-FFF2-40B4-BE49-F238E27FC236}">
                  <a16:creationId xmlns:a16="http://schemas.microsoft.com/office/drawing/2014/main" id="{C6C784C2-79D0-4443-83A5-2CB5F680E4D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Oval 271">
              <a:extLst>
                <a:ext uri="{FF2B5EF4-FFF2-40B4-BE49-F238E27FC236}">
                  <a16:creationId xmlns:a16="http://schemas.microsoft.com/office/drawing/2014/main" id="{23623BFB-9708-46A0-93DB-5FBCED627E7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272">
              <a:extLst>
                <a:ext uri="{FF2B5EF4-FFF2-40B4-BE49-F238E27FC236}">
                  <a16:creationId xmlns:a16="http://schemas.microsoft.com/office/drawing/2014/main" id="{63487389-A643-4EA1-B859-6451905FEE6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285591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" name="Oval 273">
              <a:extLst>
                <a:ext uri="{FF2B5EF4-FFF2-40B4-BE49-F238E27FC236}">
                  <a16:creationId xmlns:a16="http://schemas.microsoft.com/office/drawing/2014/main" id="{CF5E259C-1B91-4F20-92DC-FFA3652FD2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" name="Oval 274">
              <a:extLst>
                <a:ext uri="{FF2B5EF4-FFF2-40B4-BE49-F238E27FC236}">
                  <a16:creationId xmlns:a16="http://schemas.microsoft.com/office/drawing/2014/main" id="{3F298E1A-B577-4B34-A3D8-6A05C0491C5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" name="Oval 275">
              <a:extLst>
                <a:ext uri="{FF2B5EF4-FFF2-40B4-BE49-F238E27FC236}">
                  <a16:creationId xmlns:a16="http://schemas.microsoft.com/office/drawing/2014/main" id="{0E64960F-7808-41C0-B3F1-175F4EFFFB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0" name="Oval 276">
              <a:extLst>
                <a:ext uri="{FF2B5EF4-FFF2-40B4-BE49-F238E27FC236}">
                  <a16:creationId xmlns:a16="http://schemas.microsoft.com/office/drawing/2014/main" id="{CC006432-3554-455B-A261-0E8C49615AB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1" name="Oval 277">
              <a:extLst>
                <a:ext uri="{FF2B5EF4-FFF2-40B4-BE49-F238E27FC236}">
                  <a16:creationId xmlns:a16="http://schemas.microsoft.com/office/drawing/2014/main" id="{AD4B1492-02C2-449C-ADD2-FC5B95EBF8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2" name="Oval 278">
              <a:extLst>
                <a:ext uri="{FF2B5EF4-FFF2-40B4-BE49-F238E27FC236}">
                  <a16:creationId xmlns:a16="http://schemas.microsoft.com/office/drawing/2014/main" id="{CBC8A590-4336-4A58-B114-6E73D36C604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3" name="Oval 279">
              <a:extLst>
                <a:ext uri="{FF2B5EF4-FFF2-40B4-BE49-F238E27FC236}">
                  <a16:creationId xmlns:a16="http://schemas.microsoft.com/office/drawing/2014/main" id="{45AE9939-E3CB-4D8C-8565-9CAD901B47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4" name="Oval 280">
              <a:extLst>
                <a:ext uri="{FF2B5EF4-FFF2-40B4-BE49-F238E27FC236}">
                  <a16:creationId xmlns:a16="http://schemas.microsoft.com/office/drawing/2014/main" id="{16B9F828-A30F-44EE-9A56-E530E3C238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26812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5" name="Oval 281">
              <a:extLst>
                <a:ext uri="{FF2B5EF4-FFF2-40B4-BE49-F238E27FC236}">
                  <a16:creationId xmlns:a16="http://schemas.microsoft.com/office/drawing/2014/main" id="{9D403B6D-191B-48FE-8BAE-22D3311AE6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6" name="Oval 282">
              <a:extLst>
                <a:ext uri="{FF2B5EF4-FFF2-40B4-BE49-F238E27FC236}">
                  <a16:creationId xmlns:a16="http://schemas.microsoft.com/office/drawing/2014/main" id="{8901C4DB-18FD-459C-9D21-00AC539AB24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7" name="Oval 283">
              <a:extLst>
                <a:ext uri="{FF2B5EF4-FFF2-40B4-BE49-F238E27FC236}">
                  <a16:creationId xmlns:a16="http://schemas.microsoft.com/office/drawing/2014/main" id="{E1A59B50-4ABB-4383-92FF-960DB1C068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7E38F7C9-8130-4EEC-80EA-ABA4E6B0BB8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4277758" cy="6858000"/>
          </a:xfrm>
          <a:custGeom>
            <a:avLst/>
            <a:gdLst>
              <a:gd name="connsiteX0" fmla="*/ 0 w 4277758"/>
              <a:gd name="connsiteY0" fmla="*/ 0 h 6858000"/>
              <a:gd name="connsiteX1" fmla="*/ 4277758 w 4277758"/>
              <a:gd name="connsiteY1" fmla="*/ 0 h 6858000"/>
              <a:gd name="connsiteX2" fmla="*/ 4277758 w 4277758"/>
              <a:gd name="connsiteY2" fmla="*/ 2600764 h 6858000"/>
              <a:gd name="connsiteX3" fmla="*/ 4264313 w 4277758"/>
              <a:gd name="connsiteY3" fmla="*/ 2600084 h 6858000"/>
              <a:gd name="connsiteX4" fmla="*/ 21437 w 4277758"/>
              <a:gd name="connsiteY4" fmla="*/ 6433029 h 6858000"/>
              <a:gd name="connsiteX5" fmla="*/ 0 w 427775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77758" h="6858000">
                <a:moveTo>
                  <a:pt x="0" y="0"/>
                </a:moveTo>
                <a:lnTo>
                  <a:pt x="4277758" y="0"/>
                </a:lnTo>
                <a:lnTo>
                  <a:pt x="4277758" y="2600764"/>
                </a:lnTo>
                <a:lnTo>
                  <a:pt x="4264313" y="2600084"/>
                </a:lnTo>
                <a:cubicBezTo>
                  <a:pt x="2056090" y="2600084"/>
                  <a:pt x="239841" y="4280121"/>
                  <a:pt x="21437" y="6433029"/>
                </a:cubicBezTo>
                <a:lnTo>
                  <a:pt x="0" y="6858000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94E4FB3D-DA9C-4B9D-8D3A-2DAB54B7A4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77759" y="0"/>
            <a:ext cx="4294829" cy="4270184"/>
          </a:xfrm>
          <a:custGeom>
            <a:avLst/>
            <a:gdLst>
              <a:gd name="connsiteX0" fmla="*/ 0 w 2155371"/>
              <a:gd name="connsiteY0" fmla="*/ 0 h 2143003"/>
              <a:gd name="connsiteX1" fmla="*/ 2155353 w 2155371"/>
              <a:gd name="connsiteY1" fmla="*/ 0 h 2143003"/>
              <a:gd name="connsiteX2" fmla="*/ 2155371 w 2155371"/>
              <a:gd name="connsiteY2" fmla="*/ 357 h 2143003"/>
              <a:gd name="connsiteX3" fmla="*/ 15022 w 2155371"/>
              <a:gd name="connsiteY3" fmla="*/ 2143003 h 2143003"/>
              <a:gd name="connsiteX4" fmla="*/ 0 w 2155371"/>
              <a:gd name="connsiteY4" fmla="*/ 2142244 h 2143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55371" h="2143003">
                <a:moveTo>
                  <a:pt x="0" y="0"/>
                </a:moveTo>
                <a:lnTo>
                  <a:pt x="2155353" y="0"/>
                </a:lnTo>
                <a:lnTo>
                  <a:pt x="2155371" y="357"/>
                </a:lnTo>
                <a:cubicBezTo>
                  <a:pt x="2155371" y="1183708"/>
                  <a:pt x="1197104" y="2143003"/>
                  <a:pt x="15022" y="2143003"/>
                </a:cubicBezTo>
                <a:lnTo>
                  <a:pt x="0" y="2142244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D16E438-93F3-4874-96E4-0C299792AAD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2600084"/>
            <a:ext cx="4277759" cy="4257916"/>
          </a:xfrm>
          <a:custGeom>
            <a:avLst/>
            <a:gdLst>
              <a:gd name="connsiteX0" fmla="*/ 2140056 w 2146804"/>
              <a:gd name="connsiteY0" fmla="*/ 0 h 2136846"/>
              <a:gd name="connsiteX1" fmla="*/ 2146804 w 2146804"/>
              <a:gd name="connsiteY1" fmla="*/ 341 h 2136846"/>
              <a:gd name="connsiteX2" fmla="*/ 2146804 w 2146804"/>
              <a:gd name="connsiteY2" fmla="*/ 2136846 h 2136846"/>
              <a:gd name="connsiteX3" fmla="*/ 0 w 2146804"/>
              <a:gd name="connsiteY3" fmla="*/ 2136846 h 2136846"/>
              <a:gd name="connsiteX4" fmla="*/ 10758 w 2146804"/>
              <a:gd name="connsiteY4" fmla="*/ 1923573 h 2136846"/>
              <a:gd name="connsiteX5" fmla="*/ 2140056 w 2146804"/>
              <a:gd name="connsiteY5" fmla="*/ 0 h 2136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46804" h="2136846">
                <a:moveTo>
                  <a:pt x="2140056" y="0"/>
                </a:moveTo>
                <a:lnTo>
                  <a:pt x="2146804" y="341"/>
                </a:lnTo>
                <a:lnTo>
                  <a:pt x="2146804" y="2136846"/>
                </a:lnTo>
                <a:lnTo>
                  <a:pt x="0" y="2136846"/>
                </a:lnTo>
                <a:lnTo>
                  <a:pt x="10758" y="1923573"/>
                </a:lnTo>
                <a:cubicBezTo>
                  <a:pt x="120365" y="843131"/>
                  <a:pt x="1031854" y="0"/>
                  <a:pt x="2140056" y="0"/>
                </a:cubicBez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46ACE006-8D46-4E27-8976-D07D02AA4ED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52014" y="3216728"/>
            <a:ext cx="3657601" cy="1053455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E770B9A7-8945-4560-B29F-3049B970C3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52014" y="4489621"/>
            <a:ext cx="3657601" cy="164983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27402840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293A0B38-AA03-4254-A8A2-497CEFF00F48}"/>
              </a:ext>
            </a:extLst>
          </p:cNvPr>
          <p:cNvSpPr/>
          <p:nvPr userDrawn="1"/>
        </p:nvSpPr>
        <p:spPr>
          <a:xfrm>
            <a:off x="-1451903" y="-1924590"/>
            <a:ext cx="5519058" cy="5519058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7843" y="102703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7843" y="6382238"/>
            <a:ext cx="2743200" cy="365125"/>
          </a:xfrm>
        </p:spPr>
        <p:txBody>
          <a:bodyPr/>
          <a:lstStyle>
            <a:lvl1pPr algn="l"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9CB4DF3-2B4B-4305-9302-DCB162C8EA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621486" y="202276"/>
            <a:ext cx="3316025" cy="6453449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1723447-BA68-48D4-806E-824D0BD7B62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94546" y="202277"/>
            <a:ext cx="3074478" cy="3177737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B68B1D76-DC54-4D42-B61A-40581D6AEAE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92486" y="3788229"/>
            <a:ext cx="3074478" cy="2867496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AD44EBA7-D3D6-48B2-9E67-F487C221BF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3350" y="1150117"/>
            <a:ext cx="2472750" cy="1527769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D2D5387-4BA9-40BE-8914-0181CD38A8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350" y="3973781"/>
            <a:ext cx="3657601" cy="164983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24435913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6D3D9C-7BC1-4A9F-8B8F-5C744FA848AA}"/>
              </a:ext>
            </a:extLst>
          </p:cNvPr>
          <p:cNvSpPr/>
          <p:nvPr userDrawn="1"/>
        </p:nvSpPr>
        <p:spPr>
          <a:xfrm>
            <a:off x="3396343" y="3445328"/>
            <a:ext cx="3641271" cy="341267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C0B3F64-1133-4E7C-BA53-F9C99A1D12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37614" y="3412672"/>
            <a:ext cx="5154386" cy="3445328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456F89E-B9DF-4628-9E1C-A500E0AE9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7843" y="102703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90523A5-D087-4FEB-AAB6-FBB09C75C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7843" y="6382238"/>
            <a:ext cx="2743200" cy="365125"/>
          </a:xfrm>
        </p:spPr>
        <p:txBody>
          <a:bodyPr/>
          <a:lstStyle>
            <a:lvl1pPr algn="l"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4A4788F-E670-45D2-A799-8E656F21099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37614" y="0"/>
            <a:ext cx="5154386" cy="3445328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38CB07AD-44AC-4A2F-8E61-9127B91AD1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3349" y="1150117"/>
            <a:ext cx="5313921" cy="922897"/>
          </a:xfrm>
        </p:spPr>
        <p:txBody>
          <a:bodyPr>
            <a:normAutofit/>
          </a:bodyPr>
          <a:lstStyle>
            <a:lvl1pPr marL="0" indent="0" algn="l">
              <a:buNone/>
              <a:defRPr sz="4000" u="none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87046698-A318-4DCA-8FA1-F965174805B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80757" y="4944608"/>
            <a:ext cx="2672443" cy="1372314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8E5B7AFD-BA56-4708-BFEE-3E0263DA4A8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80756" y="4373108"/>
            <a:ext cx="2672443" cy="571500"/>
          </a:xfrm>
        </p:spPr>
        <p:txBody>
          <a:bodyPr>
            <a:normAutofit/>
          </a:bodyPr>
          <a:lstStyle>
            <a:lvl1pPr marL="0" indent="0" algn="ctr">
              <a:buNone/>
              <a:defRPr sz="20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A6C2001B-4880-4B74-A956-0E88B07471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350" y="2089012"/>
            <a:ext cx="5313920" cy="911781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267119024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497CE669-722A-43B5-88FA-F7C61614FF8A}"/>
              </a:ext>
            </a:extLst>
          </p:cNvPr>
          <p:cNvSpPr/>
          <p:nvPr userDrawn="1"/>
        </p:nvSpPr>
        <p:spPr>
          <a:xfrm>
            <a:off x="-1292222" y="-1258372"/>
            <a:ext cx="6492872" cy="6492872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13">
            <a:extLst>
              <a:ext uri="{FF2B5EF4-FFF2-40B4-BE49-F238E27FC236}">
                <a16:creationId xmlns:a16="http://schemas.microsoft.com/office/drawing/2014/main" id="{66A51C6D-B765-4388-A587-7C7D0C11EFD6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113088" y="2796100"/>
            <a:ext cx="2460625" cy="2438400"/>
          </a:xfr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38E852FB-4162-40A1-887B-A799B7D8B6C3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5692775" y="2784987"/>
            <a:ext cx="2460625" cy="2438400"/>
          </a:xfr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7896001B-4B1A-4688-8BD6-2E35709ABA5C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8272462" y="2796100"/>
            <a:ext cx="2460625" cy="2438400"/>
          </a:xfr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974B3EB2-CF50-4664-BAC8-79A82F968352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10852149" y="2784987"/>
            <a:ext cx="1339851" cy="2438400"/>
          </a:xfr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E147B0B-6A04-4382-8CA9-44333BD75C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3350" y="1150117"/>
            <a:ext cx="3639996" cy="1468392"/>
          </a:xfrm>
        </p:spPr>
        <p:txBody>
          <a:bodyPr>
            <a:normAutofit/>
          </a:bodyPr>
          <a:lstStyle>
            <a:lvl1pPr marL="0" indent="0" algn="l">
              <a:buNone/>
              <a:defRPr sz="4000" u="none" spc="6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400935646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41B2DFA2-B7EA-4555-8CC2-6AA7A3DA8A0F}"/>
              </a:ext>
            </a:extLst>
          </p:cNvPr>
          <p:cNvSpPr/>
          <p:nvPr userDrawn="1"/>
        </p:nvSpPr>
        <p:spPr>
          <a:xfrm>
            <a:off x="-1752600" y="-1017100"/>
            <a:ext cx="7581900" cy="7581900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D353190-D656-4548-AF06-05895A233E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874" y="1630800"/>
            <a:ext cx="2911576" cy="5935900"/>
          </a:xfrm>
          <a:prstGeom prst="rect">
            <a:avLst/>
          </a:prstGeom>
        </p:spPr>
      </p:pic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E27DC5DE-BE65-4694-801B-B924E546982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59786" y="2367186"/>
            <a:ext cx="2534547" cy="4490814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01A70429-0B10-4707-A3AC-0DA96B3F22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78315" y="2367186"/>
            <a:ext cx="4170948" cy="922897"/>
          </a:xfrm>
        </p:spPr>
        <p:txBody>
          <a:bodyPr>
            <a:normAutofit/>
          </a:bodyPr>
          <a:lstStyle>
            <a:lvl1pPr marL="0" indent="0" algn="l">
              <a:buNone/>
              <a:defRPr sz="4000" u="none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D08AFCC-FB65-484B-8AD5-BFC8B74CDE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78315" y="3306081"/>
            <a:ext cx="4170947" cy="1715985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9952989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6">
            <a:extLst>
              <a:ext uri="{FF2B5EF4-FFF2-40B4-BE49-F238E27FC236}">
                <a16:creationId xmlns:a16="http://schemas.microsoft.com/office/drawing/2014/main" id="{8EB2C3E9-9457-4E79-92E6-AE9EA4457A2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924535" y="2160253"/>
            <a:ext cx="2535900" cy="2537494"/>
          </a:xfrm>
          <a:prstGeom prst="ellipse">
            <a:avLst/>
          </a:prstGeom>
          <a:solidFill>
            <a:srgbClr val="00B0F0"/>
          </a:solidFill>
          <a:ln w="825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FC9371AE-22F7-4EBE-A949-F6E3E9D643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90118" y="1979426"/>
            <a:ext cx="3814053" cy="594921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4280A855-AC5D-4F39-A54C-8A4FB400A7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90118" y="2598137"/>
            <a:ext cx="3814053" cy="3564124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53" name="Footer Placeholder 19">
            <a:extLst>
              <a:ext uri="{FF2B5EF4-FFF2-40B4-BE49-F238E27FC236}">
                <a16:creationId xmlns:a16="http://schemas.microsoft.com/office/drawing/2014/main" id="{6CD28779-343A-4CCA-9819-867A2EFED12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0162562" y="66990"/>
            <a:ext cx="1855670" cy="328246"/>
          </a:xfrm>
        </p:spPr>
        <p:txBody>
          <a:bodyPr/>
          <a:lstStyle>
            <a:lvl1pPr algn="r">
              <a:defRPr sz="1000" b="1"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54" name="Slide Number Placeholder 20">
            <a:extLst>
              <a:ext uri="{FF2B5EF4-FFF2-40B4-BE49-F238E27FC236}">
                <a16:creationId xmlns:a16="http://schemas.microsoft.com/office/drawing/2014/main" id="{AAEF0830-CBA7-4D40-B1BE-50E2DF7A533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275032" y="6424246"/>
            <a:ext cx="2743200" cy="433754"/>
          </a:xfrm>
        </p:spPr>
        <p:txBody>
          <a:bodyPr/>
          <a:lstStyle>
            <a:lvl1pPr>
              <a:defRPr sz="800" b="1"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CA72D396-A604-4552-A49C-D4DF9B52CF4A}"/>
              </a:ext>
            </a:extLst>
          </p:cNvPr>
          <p:cNvGrpSpPr/>
          <p:nvPr userDrawn="1"/>
        </p:nvGrpSpPr>
        <p:grpSpPr>
          <a:xfrm rot="5400000">
            <a:off x="8321930" y="493892"/>
            <a:ext cx="338138" cy="1401763"/>
            <a:chOff x="7790118" y="7698260"/>
            <a:chExt cx="338138" cy="1401763"/>
          </a:xfrm>
          <a:solidFill>
            <a:schemeClr val="tx2">
              <a:lumMod val="75000"/>
            </a:schemeClr>
          </a:solidFill>
        </p:grpSpPr>
        <p:sp>
          <p:nvSpPr>
            <p:cNvPr id="65" name="Oval 159">
              <a:extLst>
                <a:ext uri="{FF2B5EF4-FFF2-40B4-BE49-F238E27FC236}">
                  <a16:creationId xmlns:a16="http://schemas.microsoft.com/office/drawing/2014/main" id="{C15795FA-0980-4A7E-AE38-663DD17491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9746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Oval 160">
              <a:extLst>
                <a:ext uri="{FF2B5EF4-FFF2-40B4-BE49-F238E27FC236}">
                  <a16:creationId xmlns:a16="http://schemas.microsoft.com/office/drawing/2014/main" id="{A7E586AC-D796-4C46-BDBB-0381A8FCDFD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9746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163">
              <a:extLst>
                <a:ext uri="{FF2B5EF4-FFF2-40B4-BE49-F238E27FC236}">
                  <a16:creationId xmlns:a16="http://schemas.microsoft.com/office/drawing/2014/main" id="{D730820E-1879-45D0-9CE2-36140946EF6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7618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164">
              <a:extLst>
                <a:ext uri="{FF2B5EF4-FFF2-40B4-BE49-F238E27FC236}">
                  <a16:creationId xmlns:a16="http://schemas.microsoft.com/office/drawing/2014/main" id="{43E523A7-74C3-462B-A96C-EDE60B4E82A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7618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Oval 167">
              <a:extLst>
                <a:ext uri="{FF2B5EF4-FFF2-40B4-BE49-F238E27FC236}">
                  <a16:creationId xmlns:a16="http://schemas.microsoft.com/office/drawing/2014/main" id="{B09BAD7E-7133-4CDC-8BB6-E3F7F6A0D83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5491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Oval 168">
              <a:extLst>
                <a:ext uri="{FF2B5EF4-FFF2-40B4-BE49-F238E27FC236}">
                  <a16:creationId xmlns:a16="http://schemas.microsoft.com/office/drawing/2014/main" id="{552FE424-315D-4B4C-BF2A-B8338DA053C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5491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Oval 169">
              <a:extLst>
                <a:ext uri="{FF2B5EF4-FFF2-40B4-BE49-F238E27FC236}">
                  <a16:creationId xmlns:a16="http://schemas.microsoft.com/office/drawing/2014/main" id="{9ECE0238-8C45-4536-8FDF-D07684C93F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33643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Oval 170">
              <a:extLst>
                <a:ext uri="{FF2B5EF4-FFF2-40B4-BE49-F238E27FC236}">
                  <a16:creationId xmlns:a16="http://schemas.microsoft.com/office/drawing/2014/main" id="{AF61DA06-F787-401A-8E1C-1F8A7239E0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33643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Oval 171">
              <a:extLst>
                <a:ext uri="{FF2B5EF4-FFF2-40B4-BE49-F238E27FC236}">
                  <a16:creationId xmlns:a16="http://schemas.microsoft.com/office/drawing/2014/main" id="{F9E28C53-D89F-4A96-9795-0519A9B0CE9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1237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Oval 172">
              <a:extLst>
                <a:ext uri="{FF2B5EF4-FFF2-40B4-BE49-F238E27FC236}">
                  <a16:creationId xmlns:a16="http://schemas.microsoft.com/office/drawing/2014/main" id="{9E65965C-55FA-419C-AF34-EE22988C05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1237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Oval 173">
              <a:extLst>
                <a:ext uri="{FF2B5EF4-FFF2-40B4-BE49-F238E27FC236}">
                  <a16:creationId xmlns:a16="http://schemas.microsoft.com/office/drawing/2014/main" id="{A6F01C6A-80D6-4D39-81EE-F0D9343176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79109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Oval 174">
              <a:extLst>
                <a:ext uri="{FF2B5EF4-FFF2-40B4-BE49-F238E27FC236}">
                  <a16:creationId xmlns:a16="http://schemas.microsoft.com/office/drawing/2014/main" id="{9F5B98F0-16DC-440E-BFB2-82D6669F61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79109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Oval 175">
              <a:extLst>
                <a:ext uri="{FF2B5EF4-FFF2-40B4-BE49-F238E27FC236}">
                  <a16:creationId xmlns:a16="http://schemas.microsoft.com/office/drawing/2014/main" id="{FA79DDAE-1EEC-4739-9598-13735C57F4E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76982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Oval 176">
              <a:extLst>
                <a:ext uri="{FF2B5EF4-FFF2-40B4-BE49-F238E27FC236}">
                  <a16:creationId xmlns:a16="http://schemas.microsoft.com/office/drawing/2014/main" id="{A3BA4665-A379-490B-A257-0CEE3B7511C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76982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25EF1A64-AE74-4583-8415-10479C7C7FC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5227983" cy="6858000"/>
          </a:xfrm>
          <a:custGeom>
            <a:avLst/>
            <a:gdLst>
              <a:gd name="connsiteX0" fmla="*/ 0 w 5227983"/>
              <a:gd name="connsiteY0" fmla="*/ 0 h 6858000"/>
              <a:gd name="connsiteX1" fmla="*/ 5227983 w 5227983"/>
              <a:gd name="connsiteY1" fmla="*/ 0 h 6858000"/>
              <a:gd name="connsiteX2" fmla="*/ 5227983 w 5227983"/>
              <a:gd name="connsiteY2" fmla="*/ 2162047 h 6858000"/>
              <a:gd name="connsiteX3" fmla="*/ 5192485 w 5227983"/>
              <a:gd name="connsiteY3" fmla="*/ 2160253 h 6858000"/>
              <a:gd name="connsiteX4" fmla="*/ 3924535 w 5227983"/>
              <a:gd name="connsiteY4" fmla="*/ 3429000 h 6858000"/>
              <a:gd name="connsiteX5" fmla="*/ 5192485 w 5227983"/>
              <a:gd name="connsiteY5" fmla="*/ 4697747 h 6858000"/>
              <a:gd name="connsiteX6" fmla="*/ 5227983 w 5227983"/>
              <a:gd name="connsiteY6" fmla="*/ 4695954 h 6858000"/>
              <a:gd name="connsiteX7" fmla="*/ 5227983 w 5227983"/>
              <a:gd name="connsiteY7" fmla="*/ 6858000 h 6858000"/>
              <a:gd name="connsiteX8" fmla="*/ 0 w 5227983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27983" h="6858000">
                <a:moveTo>
                  <a:pt x="0" y="0"/>
                </a:moveTo>
                <a:lnTo>
                  <a:pt x="5227983" y="0"/>
                </a:lnTo>
                <a:lnTo>
                  <a:pt x="5227983" y="2162047"/>
                </a:lnTo>
                <a:lnTo>
                  <a:pt x="5192485" y="2160253"/>
                </a:lnTo>
                <a:cubicBezTo>
                  <a:pt x="4492216" y="2160253"/>
                  <a:pt x="3924535" y="2728290"/>
                  <a:pt x="3924535" y="3429000"/>
                </a:cubicBezTo>
                <a:cubicBezTo>
                  <a:pt x="3924535" y="4129710"/>
                  <a:pt x="4492216" y="4697747"/>
                  <a:pt x="5192485" y="4697747"/>
                </a:cubicBezTo>
                <a:lnTo>
                  <a:pt x="5227983" y="4695954"/>
                </a:lnTo>
                <a:lnTo>
                  <a:pt x="5227983" y="6858000"/>
                </a:lnTo>
                <a:lnTo>
                  <a:pt x="0" y="6858000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23784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E36A7946-2314-408C-9438-31AEEA44F277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8823159" y="0"/>
            <a:ext cx="3368842" cy="6858000"/>
          </a:xfr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4458" y="102703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4458" y="6382238"/>
            <a:ext cx="2743200" cy="365125"/>
          </a:xfrm>
        </p:spPr>
        <p:txBody>
          <a:bodyPr/>
          <a:lstStyle>
            <a:lvl1pPr algn="l"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13">
            <a:extLst>
              <a:ext uri="{FF2B5EF4-FFF2-40B4-BE49-F238E27FC236}">
                <a16:creationId xmlns:a16="http://schemas.microsoft.com/office/drawing/2014/main" id="{47E702C1-1E8F-4BE4-AE72-6333A014BF8A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728223" y="4630941"/>
            <a:ext cx="957640" cy="956444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0EBF8CF2-88B3-45D1-A1AB-D35AA445C8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80349" y="4646983"/>
            <a:ext cx="2175997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BB9F7A9-58D8-446F-BD09-7F3788CD823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80349" y="4947240"/>
            <a:ext cx="2175998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8DBD7B9C-C660-482F-9D35-FF63B4091795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4775690" y="4634213"/>
            <a:ext cx="957640" cy="956444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C407417F-394B-4390-A286-D2B3F0D0B88F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027816" y="4650255"/>
            <a:ext cx="2175997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C97354B6-CE48-48F1-A571-316647A515C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027816" y="4950512"/>
            <a:ext cx="2175998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23D78600-6FA8-444D-AAD1-249EB93F79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8222" y="1165865"/>
            <a:ext cx="5576325" cy="922897"/>
          </a:xfrm>
        </p:spPr>
        <p:txBody>
          <a:bodyPr>
            <a:normAutofit/>
          </a:bodyPr>
          <a:lstStyle>
            <a:lvl1pPr marL="0" indent="0" algn="l">
              <a:buNone/>
              <a:defRPr sz="4000" u="none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89B294BC-224A-491D-B0FE-5BA7BB64D632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28223" y="2104760"/>
            <a:ext cx="5576324" cy="1715985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26684641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ADF9DC0E-5DC3-4475-8B3D-93517DFC13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8223" y="2792507"/>
            <a:ext cx="4453378" cy="922897"/>
          </a:xfrm>
        </p:spPr>
        <p:txBody>
          <a:bodyPr>
            <a:normAutofit/>
          </a:bodyPr>
          <a:lstStyle>
            <a:lvl1pPr marL="0" indent="0" algn="l">
              <a:buNone/>
              <a:defRPr sz="4000" u="none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1F43D39-C72F-4FE6-A5D5-C0BADC51D8D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28223" y="3731402"/>
            <a:ext cx="4453377" cy="1715985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2076F404-C255-4968-A18B-A4FE76BF477D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7032770" y="1385017"/>
            <a:ext cx="957640" cy="956444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E84EB62E-2363-43DD-A9C3-7D0335BD0D3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84896" y="1401059"/>
            <a:ext cx="2383103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7254C9CF-9D87-4B36-A934-6A157F784D7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84896" y="1701316"/>
            <a:ext cx="2383104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Picture Placeholder 13">
            <a:extLst>
              <a:ext uri="{FF2B5EF4-FFF2-40B4-BE49-F238E27FC236}">
                <a16:creationId xmlns:a16="http://schemas.microsoft.com/office/drawing/2014/main" id="{188485FF-9676-42FC-8612-257B89FAD7D6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7032770" y="2931824"/>
            <a:ext cx="957640" cy="956444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8423045-91F2-46B7-AF5F-711467AB649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284896" y="2947866"/>
            <a:ext cx="2383103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3AEFD22B-62A6-419E-B32C-70427036017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284896" y="3248123"/>
            <a:ext cx="2383104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DDF72870-A177-431D-809D-929E96358588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7032770" y="4470379"/>
            <a:ext cx="957640" cy="956444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9283BDF-F23E-4D11-9DB3-2DA31EDF7290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284896" y="4486421"/>
            <a:ext cx="2383103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5AE1ECEF-B854-4B8B-946E-E1768566DE7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284896" y="4786678"/>
            <a:ext cx="2383104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F61DD9A-A78D-4F0A-8F70-36FE39DF3640}"/>
              </a:ext>
            </a:extLst>
          </p:cNvPr>
          <p:cNvGrpSpPr/>
          <p:nvPr userDrawn="1"/>
        </p:nvGrpSpPr>
        <p:grpSpPr>
          <a:xfrm rot="5400000">
            <a:off x="1489337" y="1052497"/>
            <a:ext cx="412535" cy="1710178"/>
            <a:chOff x="7790118" y="7698260"/>
            <a:chExt cx="338138" cy="1401763"/>
          </a:xfrm>
          <a:solidFill>
            <a:schemeClr val="tx2">
              <a:lumMod val="75000"/>
            </a:schemeClr>
          </a:solidFill>
        </p:grpSpPr>
        <p:sp>
          <p:nvSpPr>
            <p:cNvPr id="21" name="Oval 159">
              <a:extLst>
                <a:ext uri="{FF2B5EF4-FFF2-40B4-BE49-F238E27FC236}">
                  <a16:creationId xmlns:a16="http://schemas.microsoft.com/office/drawing/2014/main" id="{9E798427-C6AE-4290-BDE7-6895F6308CE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9746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160">
              <a:extLst>
                <a:ext uri="{FF2B5EF4-FFF2-40B4-BE49-F238E27FC236}">
                  <a16:creationId xmlns:a16="http://schemas.microsoft.com/office/drawing/2014/main" id="{C61253A6-2C8C-4DA0-BFE2-260AF8B1709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9746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163">
              <a:extLst>
                <a:ext uri="{FF2B5EF4-FFF2-40B4-BE49-F238E27FC236}">
                  <a16:creationId xmlns:a16="http://schemas.microsoft.com/office/drawing/2014/main" id="{2A86E221-60D5-4F6B-A9B4-278241D6393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7618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164">
              <a:extLst>
                <a:ext uri="{FF2B5EF4-FFF2-40B4-BE49-F238E27FC236}">
                  <a16:creationId xmlns:a16="http://schemas.microsoft.com/office/drawing/2014/main" id="{EFAE178E-9782-4707-A9D5-0FF2407E6C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7618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167">
              <a:extLst>
                <a:ext uri="{FF2B5EF4-FFF2-40B4-BE49-F238E27FC236}">
                  <a16:creationId xmlns:a16="http://schemas.microsoft.com/office/drawing/2014/main" id="{6F1B6D2E-F054-4AC3-A052-827BF73FE2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5491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Oval 168">
              <a:extLst>
                <a:ext uri="{FF2B5EF4-FFF2-40B4-BE49-F238E27FC236}">
                  <a16:creationId xmlns:a16="http://schemas.microsoft.com/office/drawing/2014/main" id="{DD28FF6F-9C77-457B-B4CB-AC10B19D6E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5491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169">
              <a:extLst>
                <a:ext uri="{FF2B5EF4-FFF2-40B4-BE49-F238E27FC236}">
                  <a16:creationId xmlns:a16="http://schemas.microsoft.com/office/drawing/2014/main" id="{92A71AD0-B09B-4AF5-BDA8-4B2FC128E0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33643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170">
              <a:extLst>
                <a:ext uri="{FF2B5EF4-FFF2-40B4-BE49-F238E27FC236}">
                  <a16:creationId xmlns:a16="http://schemas.microsoft.com/office/drawing/2014/main" id="{BAE9FF74-FB0E-4BCB-8D32-368E6B07557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33643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171">
              <a:extLst>
                <a:ext uri="{FF2B5EF4-FFF2-40B4-BE49-F238E27FC236}">
                  <a16:creationId xmlns:a16="http://schemas.microsoft.com/office/drawing/2014/main" id="{8CA60FBC-5DBE-46A6-8B05-335365A6C88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1237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172">
              <a:extLst>
                <a:ext uri="{FF2B5EF4-FFF2-40B4-BE49-F238E27FC236}">
                  <a16:creationId xmlns:a16="http://schemas.microsoft.com/office/drawing/2014/main" id="{55337E6D-710B-4CA5-A185-5F2FF7340A8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1237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173">
              <a:extLst>
                <a:ext uri="{FF2B5EF4-FFF2-40B4-BE49-F238E27FC236}">
                  <a16:creationId xmlns:a16="http://schemas.microsoft.com/office/drawing/2014/main" id="{C7F8B30E-F9F0-4837-B3AB-DEEED0C826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79109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174">
              <a:extLst>
                <a:ext uri="{FF2B5EF4-FFF2-40B4-BE49-F238E27FC236}">
                  <a16:creationId xmlns:a16="http://schemas.microsoft.com/office/drawing/2014/main" id="{DDD01F97-FF6B-4BB7-A38A-A453C577C7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79109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175">
              <a:extLst>
                <a:ext uri="{FF2B5EF4-FFF2-40B4-BE49-F238E27FC236}">
                  <a16:creationId xmlns:a16="http://schemas.microsoft.com/office/drawing/2014/main" id="{76CAF75E-2E26-4318-91BD-B837F02D583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76982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176">
              <a:extLst>
                <a:ext uri="{FF2B5EF4-FFF2-40B4-BE49-F238E27FC236}">
                  <a16:creationId xmlns:a16="http://schemas.microsoft.com/office/drawing/2014/main" id="{A0AD8026-9DCE-4457-9010-68B50CE7C1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76982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0554866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7D43588D-68B1-43D3-8C37-8335880C3012}"/>
              </a:ext>
            </a:extLst>
          </p:cNvPr>
          <p:cNvSpPr/>
          <p:nvPr userDrawn="1"/>
        </p:nvSpPr>
        <p:spPr>
          <a:xfrm>
            <a:off x="-770011" y="-922851"/>
            <a:ext cx="6250224" cy="6250224"/>
          </a:xfrm>
          <a:prstGeom prst="ellipse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6873E04-6944-41F9-961A-EA8BB426D6A7}"/>
              </a:ext>
            </a:extLst>
          </p:cNvPr>
          <p:cNvGrpSpPr/>
          <p:nvPr userDrawn="1"/>
        </p:nvGrpSpPr>
        <p:grpSpPr>
          <a:xfrm>
            <a:off x="-60069" y="1764424"/>
            <a:ext cx="4612988" cy="4251252"/>
            <a:chOff x="1438275" y="2505075"/>
            <a:chExt cx="2206625" cy="2033588"/>
          </a:xfrm>
          <a:solidFill>
            <a:schemeClr val="bg1"/>
          </a:solidFill>
        </p:grpSpPr>
        <p:sp>
          <p:nvSpPr>
            <p:cNvPr id="14" name="Oval 177">
              <a:extLst>
                <a:ext uri="{FF2B5EF4-FFF2-40B4-BE49-F238E27FC236}">
                  <a16:creationId xmlns:a16="http://schemas.microsoft.com/office/drawing/2014/main" id="{97A91313-8686-4074-AD90-415746E692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Oval 178">
              <a:extLst>
                <a:ext uri="{FF2B5EF4-FFF2-40B4-BE49-F238E27FC236}">
                  <a16:creationId xmlns:a16="http://schemas.microsoft.com/office/drawing/2014/main" id="{19D86A13-8486-4F89-849B-E6FADBDEEC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Oval 179">
              <a:extLst>
                <a:ext uri="{FF2B5EF4-FFF2-40B4-BE49-F238E27FC236}">
                  <a16:creationId xmlns:a16="http://schemas.microsoft.com/office/drawing/2014/main" id="{36D2E3D5-78CF-41A8-A4A1-F3C6AE86CB9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Oval 180">
              <a:extLst>
                <a:ext uri="{FF2B5EF4-FFF2-40B4-BE49-F238E27FC236}">
                  <a16:creationId xmlns:a16="http://schemas.microsoft.com/office/drawing/2014/main" id="{A92EC925-BBEE-4A71-B948-A744168AC6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Oval 181">
              <a:extLst>
                <a:ext uri="{FF2B5EF4-FFF2-40B4-BE49-F238E27FC236}">
                  <a16:creationId xmlns:a16="http://schemas.microsoft.com/office/drawing/2014/main" id="{0C452939-DC08-49BB-B2BF-BF9C2F13682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182">
              <a:extLst>
                <a:ext uri="{FF2B5EF4-FFF2-40B4-BE49-F238E27FC236}">
                  <a16:creationId xmlns:a16="http://schemas.microsoft.com/office/drawing/2014/main" id="{C9B655CB-CBDB-4CF5-859E-0671DBDACF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Oval 183">
              <a:extLst>
                <a:ext uri="{FF2B5EF4-FFF2-40B4-BE49-F238E27FC236}">
                  <a16:creationId xmlns:a16="http://schemas.microsoft.com/office/drawing/2014/main" id="{84F1D6C9-BB90-483B-B87A-4630F82C4BD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184">
              <a:extLst>
                <a:ext uri="{FF2B5EF4-FFF2-40B4-BE49-F238E27FC236}">
                  <a16:creationId xmlns:a16="http://schemas.microsoft.com/office/drawing/2014/main" id="{AE40C2ED-D1B8-40AF-BF4D-7F6C0EFA0B5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185">
              <a:extLst>
                <a:ext uri="{FF2B5EF4-FFF2-40B4-BE49-F238E27FC236}">
                  <a16:creationId xmlns:a16="http://schemas.microsoft.com/office/drawing/2014/main" id="{4617CF75-47B8-4596-8AF2-CBE57DE584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186">
              <a:extLst>
                <a:ext uri="{FF2B5EF4-FFF2-40B4-BE49-F238E27FC236}">
                  <a16:creationId xmlns:a16="http://schemas.microsoft.com/office/drawing/2014/main" id="{9F719FC0-A403-4379-A35A-87E748F2C64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187">
              <a:extLst>
                <a:ext uri="{FF2B5EF4-FFF2-40B4-BE49-F238E27FC236}">
                  <a16:creationId xmlns:a16="http://schemas.microsoft.com/office/drawing/2014/main" id="{38A58975-C10F-4DC5-9847-500D236D99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42592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188">
              <a:extLst>
                <a:ext uri="{FF2B5EF4-FFF2-40B4-BE49-F238E27FC236}">
                  <a16:creationId xmlns:a16="http://schemas.microsoft.com/office/drawing/2014/main" id="{EDF6A8FA-CF11-46BF-813F-160CCE2239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408463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Oval 189">
              <a:extLst>
                <a:ext uri="{FF2B5EF4-FFF2-40B4-BE49-F238E27FC236}">
                  <a16:creationId xmlns:a16="http://schemas.microsoft.com/office/drawing/2014/main" id="{A2D51D77-01B7-49B2-985E-9D24A9DFC3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190">
              <a:extLst>
                <a:ext uri="{FF2B5EF4-FFF2-40B4-BE49-F238E27FC236}">
                  <a16:creationId xmlns:a16="http://schemas.microsoft.com/office/drawing/2014/main" id="{83A11CA7-3457-4182-BF06-AE678EA71B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191">
              <a:extLst>
                <a:ext uri="{FF2B5EF4-FFF2-40B4-BE49-F238E27FC236}">
                  <a16:creationId xmlns:a16="http://schemas.microsoft.com/office/drawing/2014/main" id="{EEB35109-3104-42CD-BCA7-5D3F81E180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192">
              <a:extLst>
                <a:ext uri="{FF2B5EF4-FFF2-40B4-BE49-F238E27FC236}">
                  <a16:creationId xmlns:a16="http://schemas.microsoft.com/office/drawing/2014/main" id="{4EF8AF4B-8A97-4F9B-8670-7171796FFB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193">
              <a:extLst>
                <a:ext uri="{FF2B5EF4-FFF2-40B4-BE49-F238E27FC236}">
                  <a16:creationId xmlns:a16="http://schemas.microsoft.com/office/drawing/2014/main" id="{664C450B-7448-44C8-B704-6B7FC85025F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194">
              <a:extLst>
                <a:ext uri="{FF2B5EF4-FFF2-40B4-BE49-F238E27FC236}">
                  <a16:creationId xmlns:a16="http://schemas.microsoft.com/office/drawing/2014/main" id="{E23BA052-3E36-4A82-B8CD-13E60B5E6B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195">
              <a:extLst>
                <a:ext uri="{FF2B5EF4-FFF2-40B4-BE49-F238E27FC236}">
                  <a16:creationId xmlns:a16="http://schemas.microsoft.com/office/drawing/2014/main" id="{E4389A16-E3D2-4FD8-9D41-D14EBCD898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408463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196">
              <a:extLst>
                <a:ext uri="{FF2B5EF4-FFF2-40B4-BE49-F238E27FC236}">
                  <a16:creationId xmlns:a16="http://schemas.microsoft.com/office/drawing/2014/main" id="{2FA07959-5B0D-46FA-B121-F907745497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197">
              <a:extLst>
                <a:ext uri="{FF2B5EF4-FFF2-40B4-BE49-F238E27FC236}">
                  <a16:creationId xmlns:a16="http://schemas.microsoft.com/office/drawing/2014/main" id="{2B7CF2B2-EE23-41B8-9307-DAD90E7B11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198">
              <a:extLst>
                <a:ext uri="{FF2B5EF4-FFF2-40B4-BE49-F238E27FC236}">
                  <a16:creationId xmlns:a16="http://schemas.microsoft.com/office/drawing/2014/main" id="{0B5B5923-EE9F-49A5-A6A2-9278C5218BC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9084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199">
              <a:extLst>
                <a:ext uri="{FF2B5EF4-FFF2-40B4-BE49-F238E27FC236}">
                  <a16:creationId xmlns:a16="http://schemas.microsoft.com/office/drawing/2014/main" id="{D636BFAF-2F88-46E7-B0DC-6689A502F7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200">
              <a:extLst>
                <a:ext uri="{FF2B5EF4-FFF2-40B4-BE49-F238E27FC236}">
                  <a16:creationId xmlns:a16="http://schemas.microsoft.com/office/drawing/2014/main" id="{FF561480-B1AC-4032-9E34-54D3FFC230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201">
              <a:extLst>
                <a:ext uri="{FF2B5EF4-FFF2-40B4-BE49-F238E27FC236}">
                  <a16:creationId xmlns:a16="http://schemas.microsoft.com/office/drawing/2014/main" id="{AA98ADAD-32CB-4C89-8F16-AA4ADED6421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202">
              <a:extLst>
                <a:ext uri="{FF2B5EF4-FFF2-40B4-BE49-F238E27FC236}">
                  <a16:creationId xmlns:a16="http://schemas.microsoft.com/office/drawing/2014/main" id="{C7A0C19D-0629-484F-854A-1EA340FD88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203">
              <a:extLst>
                <a:ext uri="{FF2B5EF4-FFF2-40B4-BE49-F238E27FC236}">
                  <a16:creationId xmlns:a16="http://schemas.microsoft.com/office/drawing/2014/main" id="{876CE911-8590-464A-87C4-8495CAEB049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204">
              <a:extLst>
                <a:ext uri="{FF2B5EF4-FFF2-40B4-BE49-F238E27FC236}">
                  <a16:creationId xmlns:a16="http://schemas.microsoft.com/office/drawing/2014/main" id="{60CD250E-8FB3-4092-8AB3-E4B6F55072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205">
              <a:extLst>
                <a:ext uri="{FF2B5EF4-FFF2-40B4-BE49-F238E27FC236}">
                  <a16:creationId xmlns:a16="http://schemas.microsoft.com/office/drawing/2014/main" id="{4FB6474E-8CE4-4345-8DB8-D69E870442F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9084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Oval 206">
              <a:extLst>
                <a:ext uri="{FF2B5EF4-FFF2-40B4-BE49-F238E27FC236}">
                  <a16:creationId xmlns:a16="http://schemas.microsoft.com/office/drawing/2014/main" id="{E7EF9912-A77E-46F2-AF83-B492FC4CAE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Oval 207">
              <a:extLst>
                <a:ext uri="{FF2B5EF4-FFF2-40B4-BE49-F238E27FC236}">
                  <a16:creationId xmlns:a16="http://schemas.microsoft.com/office/drawing/2014/main" id="{3D98894E-DBC3-4A8D-B9C2-116BDE82D3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Oval 208">
              <a:extLst>
                <a:ext uri="{FF2B5EF4-FFF2-40B4-BE49-F238E27FC236}">
                  <a16:creationId xmlns:a16="http://schemas.microsoft.com/office/drawing/2014/main" id="{2AB7732C-8CF8-45EE-9131-8E1FCD7AAF8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Oval 209">
              <a:extLst>
                <a:ext uri="{FF2B5EF4-FFF2-40B4-BE49-F238E27FC236}">
                  <a16:creationId xmlns:a16="http://schemas.microsoft.com/office/drawing/2014/main" id="{E982622B-8BCB-4DDC-A83D-ED5AF075CC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73380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Oval 210">
              <a:extLst>
                <a:ext uri="{FF2B5EF4-FFF2-40B4-BE49-F238E27FC236}">
                  <a16:creationId xmlns:a16="http://schemas.microsoft.com/office/drawing/2014/main" id="{E5FD9F2A-BC2E-4D45-BFB2-F27B1C12C89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Oval 211">
              <a:extLst>
                <a:ext uri="{FF2B5EF4-FFF2-40B4-BE49-F238E27FC236}">
                  <a16:creationId xmlns:a16="http://schemas.microsoft.com/office/drawing/2014/main" id="{A70B6F0D-5BD2-4FF6-927E-AD1554D41F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Oval 212">
              <a:extLst>
                <a:ext uri="{FF2B5EF4-FFF2-40B4-BE49-F238E27FC236}">
                  <a16:creationId xmlns:a16="http://schemas.microsoft.com/office/drawing/2014/main" id="{CDD9EE8C-1381-4777-9AA2-8ADB78B4E2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Oval 213">
              <a:extLst>
                <a:ext uri="{FF2B5EF4-FFF2-40B4-BE49-F238E27FC236}">
                  <a16:creationId xmlns:a16="http://schemas.microsoft.com/office/drawing/2014/main" id="{525D56DD-DF4F-456A-B0F3-F7A8E12612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Oval 214">
              <a:extLst>
                <a:ext uri="{FF2B5EF4-FFF2-40B4-BE49-F238E27FC236}">
                  <a16:creationId xmlns:a16="http://schemas.microsoft.com/office/drawing/2014/main" id="{8B9D032F-6C05-4C18-8A86-B9B10C507B1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Oval 215">
              <a:extLst>
                <a:ext uri="{FF2B5EF4-FFF2-40B4-BE49-F238E27FC236}">
                  <a16:creationId xmlns:a16="http://schemas.microsoft.com/office/drawing/2014/main" id="{A8F95257-26C0-4DB2-89B3-E28C62F5C7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Oval 216">
              <a:extLst>
                <a:ext uri="{FF2B5EF4-FFF2-40B4-BE49-F238E27FC236}">
                  <a16:creationId xmlns:a16="http://schemas.microsoft.com/office/drawing/2014/main" id="{72B1CF07-42BC-4C64-AF16-663CC4B0E6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73380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Oval 217">
              <a:extLst>
                <a:ext uri="{FF2B5EF4-FFF2-40B4-BE49-F238E27FC236}">
                  <a16:creationId xmlns:a16="http://schemas.microsoft.com/office/drawing/2014/main" id="{14F5120A-8543-4811-AD0B-C69F990680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Oval 218">
              <a:extLst>
                <a:ext uri="{FF2B5EF4-FFF2-40B4-BE49-F238E27FC236}">
                  <a16:creationId xmlns:a16="http://schemas.microsoft.com/office/drawing/2014/main" id="{E2CA5D28-C2D5-4D6C-AE6D-7A73A55188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Oval 219">
              <a:extLst>
                <a:ext uri="{FF2B5EF4-FFF2-40B4-BE49-F238E27FC236}">
                  <a16:creationId xmlns:a16="http://schemas.microsoft.com/office/drawing/2014/main" id="{7836A675-0DD0-4D01-9103-81003F3D63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Oval 220">
              <a:extLst>
                <a:ext uri="{FF2B5EF4-FFF2-40B4-BE49-F238E27FC236}">
                  <a16:creationId xmlns:a16="http://schemas.microsoft.com/office/drawing/2014/main" id="{55CF43B7-7D1B-4E7D-9A09-E47FD3E4406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5575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Oval 221">
              <a:extLst>
                <a:ext uri="{FF2B5EF4-FFF2-40B4-BE49-F238E27FC236}">
                  <a16:creationId xmlns:a16="http://schemas.microsoft.com/office/drawing/2014/main" id="{B6847D44-5701-4ED7-BC50-C846D344EF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Oval 222">
              <a:extLst>
                <a:ext uri="{FF2B5EF4-FFF2-40B4-BE49-F238E27FC236}">
                  <a16:creationId xmlns:a16="http://schemas.microsoft.com/office/drawing/2014/main" id="{5F67A1F6-AC1F-4679-9F06-5A1CB27334C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Oval 223">
              <a:extLst>
                <a:ext uri="{FF2B5EF4-FFF2-40B4-BE49-F238E27FC236}">
                  <a16:creationId xmlns:a16="http://schemas.microsoft.com/office/drawing/2014/main" id="{10B2C837-B580-4A15-B6D5-0765D9B8C8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Oval 224">
              <a:extLst>
                <a:ext uri="{FF2B5EF4-FFF2-40B4-BE49-F238E27FC236}">
                  <a16:creationId xmlns:a16="http://schemas.microsoft.com/office/drawing/2014/main" id="{BB35274F-15BD-488A-9C45-012B1D738B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Oval 225">
              <a:extLst>
                <a:ext uri="{FF2B5EF4-FFF2-40B4-BE49-F238E27FC236}">
                  <a16:creationId xmlns:a16="http://schemas.microsoft.com/office/drawing/2014/main" id="{232B0F69-56E2-4FBE-8424-8D5690B005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Oval 226">
              <a:extLst>
                <a:ext uri="{FF2B5EF4-FFF2-40B4-BE49-F238E27FC236}">
                  <a16:creationId xmlns:a16="http://schemas.microsoft.com/office/drawing/2014/main" id="{1ADC8EF3-96BC-41C0-A04D-2E4BC3A30E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227">
              <a:extLst>
                <a:ext uri="{FF2B5EF4-FFF2-40B4-BE49-F238E27FC236}">
                  <a16:creationId xmlns:a16="http://schemas.microsoft.com/office/drawing/2014/main" id="{3CDB3BE2-779A-464E-A7EB-23D6A681246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5575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Oval 228">
              <a:extLst>
                <a:ext uri="{FF2B5EF4-FFF2-40B4-BE49-F238E27FC236}">
                  <a16:creationId xmlns:a16="http://schemas.microsoft.com/office/drawing/2014/main" id="{25B78E59-7BAF-4941-9ACC-9466E2F046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Oval 229">
              <a:extLst>
                <a:ext uri="{FF2B5EF4-FFF2-40B4-BE49-F238E27FC236}">
                  <a16:creationId xmlns:a16="http://schemas.microsoft.com/office/drawing/2014/main" id="{3EE89678-BA60-4AC6-9052-325C1767608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Oval 230">
              <a:extLst>
                <a:ext uri="{FF2B5EF4-FFF2-40B4-BE49-F238E27FC236}">
                  <a16:creationId xmlns:a16="http://schemas.microsoft.com/office/drawing/2014/main" id="{F44E71D8-A95D-4FBD-91CF-7BE825E601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4382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Oval 231">
              <a:extLst>
                <a:ext uri="{FF2B5EF4-FFF2-40B4-BE49-F238E27FC236}">
                  <a16:creationId xmlns:a16="http://schemas.microsoft.com/office/drawing/2014/main" id="{998EFD9A-7FB3-41BF-B043-20F8CFFD94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232">
              <a:extLst>
                <a:ext uri="{FF2B5EF4-FFF2-40B4-BE49-F238E27FC236}">
                  <a16:creationId xmlns:a16="http://schemas.microsoft.com/office/drawing/2014/main" id="{46E03D76-3F21-491E-8BC0-DB32728390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3829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233">
              <a:extLst>
                <a:ext uri="{FF2B5EF4-FFF2-40B4-BE49-F238E27FC236}">
                  <a16:creationId xmlns:a16="http://schemas.microsoft.com/office/drawing/2014/main" id="{EF0F6B15-C4D9-49EA-A489-6662DE117D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234">
              <a:extLst>
                <a:ext uri="{FF2B5EF4-FFF2-40B4-BE49-F238E27FC236}">
                  <a16:creationId xmlns:a16="http://schemas.microsoft.com/office/drawing/2014/main" id="{8979B1B3-FFF4-41A6-A361-2E4EC53AF46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235">
              <a:extLst>
                <a:ext uri="{FF2B5EF4-FFF2-40B4-BE49-F238E27FC236}">
                  <a16:creationId xmlns:a16="http://schemas.microsoft.com/office/drawing/2014/main" id="{8283834E-1A60-48A4-B0FD-29428120244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Oval 236">
              <a:extLst>
                <a:ext uri="{FF2B5EF4-FFF2-40B4-BE49-F238E27FC236}">
                  <a16:creationId xmlns:a16="http://schemas.microsoft.com/office/drawing/2014/main" id="{A7AB9451-D1E0-4BE5-8607-E79E02EA875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Oval 237">
              <a:extLst>
                <a:ext uri="{FF2B5EF4-FFF2-40B4-BE49-F238E27FC236}">
                  <a16:creationId xmlns:a16="http://schemas.microsoft.com/office/drawing/2014/main" id="{2753EC8F-8F53-4867-8CCD-9FC2D8A97F6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Oval 238">
              <a:extLst>
                <a:ext uri="{FF2B5EF4-FFF2-40B4-BE49-F238E27FC236}">
                  <a16:creationId xmlns:a16="http://schemas.microsoft.com/office/drawing/2014/main" id="{24342D8F-4642-43AB-BE5A-234509C21A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Oval 239">
              <a:extLst>
                <a:ext uri="{FF2B5EF4-FFF2-40B4-BE49-F238E27FC236}">
                  <a16:creationId xmlns:a16="http://schemas.microsoft.com/office/drawing/2014/main" id="{A05FFDE8-3912-4BAC-A143-8848A052425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3829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Oval 240">
              <a:extLst>
                <a:ext uri="{FF2B5EF4-FFF2-40B4-BE49-F238E27FC236}">
                  <a16:creationId xmlns:a16="http://schemas.microsoft.com/office/drawing/2014/main" id="{9A4FFDAD-CFA1-4099-90A6-37534BA2A25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Oval 241">
              <a:extLst>
                <a:ext uri="{FF2B5EF4-FFF2-40B4-BE49-F238E27FC236}">
                  <a16:creationId xmlns:a16="http://schemas.microsoft.com/office/drawing/2014/main" id="{66F0AA3D-F215-4E8E-BE5D-0F25F70BD7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Oval 242">
              <a:extLst>
                <a:ext uri="{FF2B5EF4-FFF2-40B4-BE49-F238E27FC236}">
                  <a16:creationId xmlns:a16="http://schemas.microsoft.com/office/drawing/2014/main" id="{35D461FF-4C39-4066-9611-367AE6EF250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54171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Oval 243">
              <a:extLst>
                <a:ext uri="{FF2B5EF4-FFF2-40B4-BE49-F238E27FC236}">
                  <a16:creationId xmlns:a16="http://schemas.microsoft.com/office/drawing/2014/main" id="{CB7849BC-CFB9-4348-AF18-993991DD1CD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Oval 244">
              <a:extLst>
                <a:ext uri="{FF2B5EF4-FFF2-40B4-BE49-F238E27FC236}">
                  <a16:creationId xmlns:a16="http://schemas.microsoft.com/office/drawing/2014/main" id="{829899B2-B413-4256-9711-99B050CC65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20675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Oval 245">
              <a:extLst>
                <a:ext uri="{FF2B5EF4-FFF2-40B4-BE49-F238E27FC236}">
                  <a16:creationId xmlns:a16="http://schemas.microsoft.com/office/drawing/2014/main" id="{B439AE47-9F67-4761-8F10-B8A78B4E3D2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Oval 246">
              <a:extLst>
                <a:ext uri="{FF2B5EF4-FFF2-40B4-BE49-F238E27FC236}">
                  <a16:creationId xmlns:a16="http://schemas.microsoft.com/office/drawing/2014/main" id="{BD7500CB-5A52-422E-815D-5A0D8F83E2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Oval 247">
              <a:extLst>
                <a:ext uri="{FF2B5EF4-FFF2-40B4-BE49-F238E27FC236}">
                  <a16:creationId xmlns:a16="http://schemas.microsoft.com/office/drawing/2014/main" id="{08748FD7-85F0-4838-8CC8-85C3B6B226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Oval 248">
              <a:extLst>
                <a:ext uri="{FF2B5EF4-FFF2-40B4-BE49-F238E27FC236}">
                  <a16:creationId xmlns:a16="http://schemas.microsoft.com/office/drawing/2014/main" id="{1FE4E2CE-F639-48A7-B0F5-A913AC4088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Oval 249">
              <a:extLst>
                <a:ext uri="{FF2B5EF4-FFF2-40B4-BE49-F238E27FC236}">
                  <a16:creationId xmlns:a16="http://schemas.microsoft.com/office/drawing/2014/main" id="{928AFCD4-40C5-4018-858D-B326BAE9659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Oval 250">
              <a:extLst>
                <a:ext uri="{FF2B5EF4-FFF2-40B4-BE49-F238E27FC236}">
                  <a16:creationId xmlns:a16="http://schemas.microsoft.com/office/drawing/2014/main" id="{115BFF54-5E92-443F-B593-A63A27D20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Oval 251">
              <a:extLst>
                <a:ext uri="{FF2B5EF4-FFF2-40B4-BE49-F238E27FC236}">
                  <a16:creationId xmlns:a16="http://schemas.microsoft.com/office/drawing/2014/main" id="{1F3370C8-5611-4FBC-A7E3-E328B964AE2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20675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Oval 252">
              <a:extLst>
                <a:ext uri="{FF2B5EF4-FFF2-40B4-BE49-F238E27FC236}">
                  <a16:creationId xmlns:a16="http://schemas.microsoft.com/office/drawing/2014/main" id="{49E1661C-9FDB-4C84-9F44-6B1895EC858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Oval 253">
              <a:extLst>
                <a:ext uri="{FF2B5EF4-FFF2-40B4-BE49-F238E27FC236}">
                  <a16:creationId xmlns:a16="http://schemas.microsoft.com/office/drawing/2014/main" id="{E7D7AD04-689A-4843-93EC-AE430F4B14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Oval 254">
              <a:extLst>
                <a:ext uri="{FF2B5EF4-FFF2-40B4-BE49-F238E27FC236}">
                  <a16:creationId xmlns:a16="http://schemas.microsoft.com/office/drawing/2014/main" id="{D7F43C01-9ABF-4968-925B-8DCE0A72C6D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Oval 255">
              <a:extLst>
                <a:ext uri="{FF2B5EF4-FFF2-40B4-BE49-F238E27FC236}">
                  <a16:creationId xmlns:a16="http://schemas.microsoft.com/office/drawing/2014/main" id="{117E5948-B1F6-472D-B089-D401E3556B9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0321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Oval 256">
              <a:extLst>
                <a:ext uri="{FF2B5EF4-FFF2-40B4-BE49-F238E27FC236}">
                  <a16:creationId xmlns:a16="http://schemas.microsoft.com/office/drawing/2014/main" id="{5CC91A75-A09E-445E-B1DF-734CDC24A4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Oval 257">
              <a:extLst>
                <a:ext uri="{FF2B5EF4-FFF2-40B4-BE49-F238E27FC236}">
                  <a16:creationId xmlns:a16="http://schemas.microsoft.com/office/drawing/2014/main" id="{9B90A370-77BD-42FF-BF98-89D97A5FF77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Oval 258">
              <a:extLst>
                <a:ext uri="{FF2B5EF4-FFF2-40B4-BE49-F238E27FC236}">
                  <a16:creationId xmlns:a16="http://schemas.microsoft.com/office/drawing/2014/main" id="{1206900B-7899-43EF-92A8-3F676524E3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259">
              <a:extLst>
                <a:ext uri="{FF2B5EF4-FFF2-40B4-BE49-F238E27FC236}">
                  <a16:creationId xmlns:a16="http://schemas.microsoft.com/office/drawing/2014/main" id="{83162770-27EC-47F7-9428-74C075F432E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Oval 260">
              <a:extLst>
                <a:ext uri="{FF2B5EF4-FFF2-40B4-BE49-F238E27FC236}">
                  <a16:creationId xmlns:a16="http://schemas.microsoft.com/office/drawing/2014/main" id="{514A0E67-45DF-4646-9A21-7F3EAB3C63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Oval 261">
              <a:extLst>
                <a:ext uri="{FF2B5EF4-FFF2-40B4-BE49-F238E27FC236}">
                  <a16:creationId xmlns:a16="http://schemas.microsoft.com/office/drawing/2014/main" id="{ACD4E2E0-9826-4B44-9833-9B32DD0D912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262">
              <a:extLst>
                <a:ext uri="{FF2B5EF4-FFF2-40B4-BE49-F238E27FC236}">
                  <a16:creationId xmlns:a16="http://schemas.microsoft.com/office/drawing/2014/main" id="{86CCC5A7-0B10-4AB0-A789-ACCD9FE418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0321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263">
              <a:extLst>
                <a:ext uri="{FF2B5EF4-FFF2-40B4-BE49-F238E27FC236}">
                  <a16:creationId xmlns:a16="http://schemas.microsoft.com/office/drawing/2014/main" id="{6B4D130A-7AF3-41B2-B56D-E85675E036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264">
              <a:extLst>
                <a:ext uri="{FF2B5EF4-FFF2-40B4-BE49-F238E27FC236}">
                  <a16:creationId xmlns:a16="http://schemas.microsoft.com/office/drawing/2014/main" id="{60950A9E-97E2-4F0A-ADD0-807A6E321BB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265">
              <a:extLst>
                <a:ext uri="{FF2B5EF4-FFF2-40B4-BE49-F238E27FC236}">
                  <a16:creationId xmlns:a16="http://schemas.microsoft.com/office/drawing/2014/main" id="{41FA5D42-83AC-413C-975A-41AC3FDBA1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285591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266">
              <a:extLst>
                <a:ext uri="{FF2B5EF4-FFF2-40B4-BE49-F238E27FC236}">
                  <a16:creationId xmlns:a16="http://schemas.microsoft.com/office/drawing/2014/main" id="{6AB4C8C1-BB36-4080-BE74-23FA12E52D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267">
              <a:extLst>
                <a:ext uri="{FF2B5EF4-FFF2-40B4-BE49-F238E27FC236}">
                  <a16:creationId xmlns:a16="http://schemas.microsoft.com/office/drawing/2014/main" id="{00FA33EE-4B3A-478F-8E9A-F826510BF7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268">
              <a:extLst>
                <a:ext uri="{FF2B5EF4-FFF2-40B4-BE49-F238E27FC236}">
                  <a16:creationId xmlns:a16="http://schemas.microsoft.com/office/drawing/2014/main" id="{F052926D-9148-4910-8838-8E3433D8B6C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269">
              <a:extLst>
                <a:ext uri="{FF2B5EF4-FFF2-40B4-BE49-F238E27FC236}">
                  <a16:creationId xmlns:a16="http://schemas.microsoft.com/office/drawing/2014/main" id="{DA81CAF1-B742-4395-817F-A4B83806E1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270">
              <a:extLst>
                <a:ext uri="{FF2B5EF4-FFF2-40B4-BE49-F238E27FC236}">
                  <a16:creationId xmlns:a16="http://schemas.microsoft.com/office/drawing/2014/main" id="{2A2D4B07-AB01-4742-9A16-5FB75E47EE6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271">
              <a:extLst>
                <a:ext uri="{FF2B5EF4-FFF2-40B4-BE49-F238E27FC236}">
                  <a16:creationId xmlns:a16="http://schemas.microsoft.com/office/drawing/2014/main" id="{021D1424-9688-4288-AA40-F3048943BE6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272">
              <a:extLst>
                <a:ext uri="{FF2B5EF4-FFF2-40B4-BE49-F238E27FC236}">
                  <a16:creationId xmlns:a16="http://schemas.microsoft.com/office/drawing/2014/main" id="{739214FC-73BA-409E-9282-90193D64BE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285591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273">
              <a:extLst>
                <a:ext uri="{FF2B5EF4-FFF2-40B4-BE49-F238E27FC236}">
                  <a16:creationId xmlns:a16="http://schemas.microsoft.com/office/drawing/2014/main" id="{01E5D5D1-42AA-44EE-BA7E-C73859655AA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274">
              <a:extLst>
                <a:ext uri="{FF2B5EF4-FFF2-40B4-BE49-F238E27FC236}">
                  <a16:creationId xmlns:a16="http://schemas.microsoft.com/office/drawing/2014/main" id="{961CC668-B20A-4D29-83A1-3195D5F4D0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Oval 275">
              <a:extLst>
                <a:ext uri="{FF2B5EF4-FFF2-40B4-BE49-F238E27FC236}">
                  <a16:creationId xmlns:a16="http://schemas.microsoft.com/office/drawing/2014/main" id="{94685D95-A2C8-4670-AB22-60EA155F23C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Oval 276">
              <a:extLst>
                <a:ext uri="{FF2B5EF4-FFF2-40B4-BE49-F238E27FC236}">
                  <a16:creationId xmlns:a16="http://schemas.microsoft.com/office/drawing/2014/main" id="{6E4D3B9E-7FA9-4C9F-AA6D-0077FBAD39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Oval 277">
              <a:extLst>
                <a:ext uri="{FF2B5EF4-FFF2-40B4-BE49-F238E27FC236}">
                  <a16:creationId xmlns:a16="http://schemas.microsoft.com/office/drawing/2014/main" id="{4262086B-55D2-41F5-829D-9807246EF1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Oval 278">
              <a:extLst>
                <a:ext uri="{FF2B5EF4-FFF2-40B4-BE49-F238E27FC236}">
                  <a16:creationId xmlns:a16="http://schemas.microsoft.com/office/drawing/2014/main" id="{9E1AB05E-84F7-4F24-ABF5-B98D40B865E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Oval 279">
              <a:extLst>
                <a:ext uri="{FF2B5EF4-FFF2-40B4-BE49-F238E27FC236}">
                  <a16:creationId xmlns:a16="http://schemas.microsoft.com/office/drawing/2014/main" id="{0C9FAD3C-8C2C-4B1A-8409-17E29F542BE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Oval 280">
              <a:extLst>
                <a:ext uri="{FF2B5EF4-FFF2-40B4-BE49-F238E27FC236}">
                  <a16:creationId xmlns:a16="http://schemas.microsoft.com/office/drawing/2014/main" id="{0DDF60E6-AFE2-4463-9FBF-F8D648558C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26812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Oval 281">
              <a:extLst>
                <a:ext uri="{FF2B5EF4-FFF2-40B4-BE49-F238E27FC236}">
                  <a16:creationId xmlns:a16="http://schemas.microsoft.com/office/drawing/2014/main" id="{E234C53B-DCE2-464B-BD65-6F42431D97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Oval 282">
              <a:extLst>
                <a:ext uri="{FF2B5EF4-FFF2-40B4-BE49-F238E27FC236}">
                  <a16:creationId xmlns:a16="http://schemas.microsoft.com/office/drawing/2014/main" id="{AE4C4D31-98E6-489B-A18E-9628281762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Oval 283">
              <a:extLst>
                <a:ext uri="{FF2B5EF4-FFF2-40B4-BE49-F238E27FC236}">
                  <a16:creationId xmlns:a16="http://schemas.microsoft.com/office/drawing/2014/main" id="{BE2CF3B1-E848-4891-A90D-F576A2BC01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05E2E36-CDA2-4B3A-8F4F-99ADACFCD5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5333" y="1630800"/>
            <a:ext cx="2911576" cy="5935900"/>
          </a:xfrm>
          <a:prstGeom prst="rect">
            <a:avLst/>
          </a:prstGeom>
        </p:spPr>
      </p:pic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83FBA87-5FFB-4098-A34A-68063525048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973848" y="2367186"/>
            <a:ext cx="2534547" cy="4490814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B904C83-07EE-46BF-90CE-E342EEDF3F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0735" y="3890050"/>
            <a:ext cx="2911576" cy="5935900"/>
          </a:xfrm>
          <a:prstGeom prst="rect">
            <a:avLst/>
          </a:prstGeom>
        </p:spPr>
      </p:pic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D9EE123-1EB2-470E-B5C8-D6B77ABD5BC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819250" y="4626436"/>
            <a:ext cx="2534547" cy="4490814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76E35AB-5DFB-4CE8-9E57-34E39DB276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8627" y="3903893"/>
            <a:ext cx="2911576" cy="5935900"/>
          </a:xfrm>
          <a:prstGeom prst="rect">
            <a:avLst/>
          </a:prstGeom>
        </p:spPr>
      </p:pic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1A002736-AFE8-4B27-8DA6-CA9D0CE691A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9888" y="4640279"/>
            <a:ext cx="2534547" cy="4490814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121" name="Text Placeholder 11">
            <a:extLst>
              <a:ext uri="{FF2B5EF4-FFF2-40B4-BE49-F238E27FC236}">
                <a16:creationId xmlns:a16="http://schemas.microsoft.com/office/drawing/2014/main" id="{342883BC-A9EF-4416-89A2-F9FFED15704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41121" y="1371600"/>
            <a:ext cx="4170948" cy="861138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2" name="Text Placeholder 11">
            <a:extLst>
              <a:ext uri="{FF2B5EF4-FFF2-40B4-BE49-F238E27FC236}">
                <a16:creationId xmlns:a16="http://schemas.microsoft.com/office/drawing/2014/main" id="{D30C3231-E202-4F3A-A612-1F3D9BACD8E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1121" y="2248736"/>
            <a:ext cx="4170947" cy="1715985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94008843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4311451F-339A-4D84-B4FA-B8A3E1E60553}"/>
              </a:ext>
            </a:extLst>
          </p:cNvPr>
          <p:cNvSpPr/>
          <p:nvPr userDrawn="1"/>
        </p:nvSpPr>
        <p:spPr>
          <a:xfrm>
            <a:off x="6266658" y="944380"/>
            <a:ext cx="4969240" cy="4969240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630A93A-34DC-435A-8614-436F62999E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3082" y="2104580"/>
            <a:ext cx="5156392" cy="3091376"/>
          </a:xfrm>
          <a:prstGeom prst="rect">
            <a:avLst/>
          </a:prstGeom>
        </p:spPr>
      </p:pic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F7CC0105-562E-4801-8EBC-DA0CCCA1D74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764882" y="2322368"/>
            <a:ext cx="3964131" cy="2483427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C9F93D8C-F5A3-4196-8829-647FF09D07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20" y="2104580"/>
            <a:ext cx="3703411" cy="1062578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1641CBE5-E23F-46D6-AF83-6930588E1A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50183" y="3289606"/>
            <a:ext cx="3716014" cy="2151156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C6C5D15-CCE2-4E40-8374-DCF9A1D64068}"/>
              </a:ext>
            </a:extLst>
          </p:cNvPr>
          <p:cNvGrpSpPr/>
          <p:nvPr userDrawn="1"/>
        </p:nvGrpSpPr>
        <p:grpSpPr>
          <a:xfrm>
            <a:off x="605222" y="3429000"/>
            <a:ext cx="412535" cy="1710178"/>
            <a:chOff x="7790118" y="7698260"/>
            <a:chExt cx="338138" cy="1401763"/>
          </a:xfrm>
          <a:solidFill>
            <a:schemeClr val="tx2">
              <a:lumMod val="75000"/>
            </a:schemeClr>
          </a:solidFill>
        </p:grpSpPr>
        <p:sp>
          <p:nvSpPr>
            <p:cNvPr id="12" name="Oval 159">
              <a:extLst>
                <a:ext uri="{FF2B5EF4-FFF2-40B4-BE49-F238E27FC236}">
                  <a16:creationId xmlns:a16="http://schemas.microsoft.com/office/drawing/2014/main" id="{7E680219-324B-4C77-9208-733F4CE7E0F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9746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Oval 160">
              <a:extLst>
                <a:ext uri="{FF2B5EF4-FFF2-40B4-BE49-F238E27FC236}">
                  <a16:creationId xmlns:a16="http://schemas.microsoft.com/office/drawing/2014/main" id="{932539DD-A315-44A2-9AAF-FFF7488577A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9746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Oval 163">
              <a:extLst>
                <a:ext uri="{FF2B5EF4-FFF2-40B4-BE49-F238E27FC236}">
                  <a16:creationId xmlns:a16="http://schemas.microsoft.com/office/drawing/2014/main" id="{70626CA9-2665-4E93-A7F3-4D6CA3BC5A1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7618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Oval 164">
              <a:extLst>
                <a:ext uri="{FF2B5EF4-FFF2-40B4-BE49-F238E27FC236}">
                  <a16:creationId xmlns:a16="http://schemas.microsoft.com/office/drawing/2014/main" id="{D89EC764-88E0-47D3-9B68-BF6C5196A6E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7618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Oval 167">
              <a:extLst>
                <a:ext uri="{FF2B5EF4-FFF2-40B4-BE49-F238E27FC236}">
                  <a16:creationId xmlns:a16="http://schemas.microsoft.com/office/drawing/2014/main" id="{28928C70-4489-4093-92BB-E1CCCE1C353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5491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Oval 168">
              <a:extLst>
                <a:ext uri="{FF2B5EF4-FFF2-40B4-BE49-F238E27FC236}">
                  <a16:creationId xmlns:a16="http://schemas.microsoft.com/office/drawing/2014/main" id="{19D0AEA3-C742-4F70-B627-87C0191D4A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5491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Oval 169">
              <a:extLst>
                <a:ext uri="{FF2B5EF4-FFF2-40B4-BE49-F238E27FC236}">
                  <a16:creationId xmlns:a16="http://schemas.microsoft.com/office/drawing/2014/main" id="{79F488D1-600E-42C4-AF15-D800981965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33643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170">
              <a:extLst>
                <a:ext uri="{FF2B5EF4-FFF2-40B4-BE49-F238E27FC236}">
                  <a16:creationId xmlns:a16="http://schemas.microsoft.com/office/drawing/2014/main" id="{A0362877-0859-4976-9D68-4F76ACF88C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33643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Oval 171">
              <a:extLst>
                <a:ext uri="{FF2B5EF4-FFF2-40B4-BE49-F238E27FC236}">
                  <a16:creationId xmlns:a16="http://schemas.microsoft.com/office/drawing/2014/main" id="{D30DA7DA-8BCF-49C8-A3AB-F1A2765DC35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1237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172">
              <a:extLst>
                <a:ext uri="{FF2B5EF4-FFF2-40B4-BE49-F238E27FC236}">
                  <a16:creationId xmlns:a16="http://schemas.microsoft.com/office/drawing/2014/main" id="{85D0A8BF-D399-463E-82A6-A43286A08E9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1237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173">
              <a:extLst>
                <a:ext uri="{FF2B5EF4-FFF2-40B4-BE49-F238E27FC236}">
                  <a16:creationId xmlns:a16="http://schemas.microsoft.com/office/drawing/2014/main" id="{4A07BA2B-A001-4CB2-BC3E-0B6D980B78D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79109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174">
              <a:extLst>
                <a:ext uri="{FF2B5EF4-FFF2-40B4-BE49-F238E27FC236}">
                  <a16:creationId xmlns:a16="http://schemas.microsoft.com/office/drawing/2014/main" id="{06D75F7A-4CB5-419B-B952-7503265236D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79109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175">
              <a:extLst>
                <a:ext uri="{FF2B5EF4-FFF2-40B4-BE49-F238E27FC236}">
                  <a16:creationId xmlns:a16="http://schemas.microsoft.com/office/drawing/2014/main" id="{9FF5A8BF-9D8B-476D-925C-33C568DFDAF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76982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176">
              <a:extLst>
                <a:ext uri="{FF2B5EF4-FFF2-40B4-BE49-F238E27FC236}">
                  <a16:creationId xmlns:a16="http://schemas.microsoft.com/office/drawing/2014/main" id="{AE17B987-FC78-41F8-8240-D744E1DACB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76982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15003882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>
            <a:extLst>
              <a:ext uri="{FF2B5EF4-FFF2-40B4-BE49-F238E27FC236}">
                <a16:creationId xmlns:a16="http://schemas.microsoft.com/office/drawing/2014/main" id="{52990416-470E-46B3-AC5A-3E501AD056F8}"/>
              </a:ext>
            </a:extLst>
          </p:cNvPr>
          <p:cNvSpPr/>
          <p:nvPr userDrawn="1"/>
        </p:nvSpPr>
        <p:spPr>
          <a:xfrm>
            <a:off x="3476804" y="450167"/>
            <a:ext cx="4019670" cy="4019670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A2C75D9-6E3C-449F-8D3B-1C7FCD0716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4572" y="-1151396"/>
            <a:ext cx="5339879" cy="9127998"/>
          </a:xfrm>
          <a:prstGeom prst="rect">
            <a:avLst/>
          </a:prstGeom>
          <a:effectLst/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B298A99-2F1B-4D50-A916-AE93D9FFEA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7616" y="1324823"/>
            <a:ext cx="1942648" cy="3960529"/>
          </a:xfrm>
          <a:prstGeom prst="rect">
            <a:avLst/>
          </a:prstGeom>
          <a:effectLst/>
        </p:spPr>
      </p:pic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98B1CB2C-24F1-4ED9-94AE-BCF490FFE37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776218" y="1811597"/>
            <a:ext cx="1727361" cy="3007952"/>
          </a:xfrm>
          <a:prstGeom prst="rect">
            <a:avLst/>
          </a:prstGeom>
          <a:pattFill prst="pct50">
            <a:fgClr>
              <a:srgbClr val="92D050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5804AD6E-6890-4EE1-83DE-4C02DE9E3EF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4820" y="4629352"/>
            <a:ext cx="3304363" cy="1243910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E0819C46-1CBE-46BE-86CA-4DBFCADAACC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411085" y="1950239"/>
            <a:ext cx="3177876" cy="1019526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9FA20A3-2BBF-4EC8-9BAA-68F6DAA070A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865433" y="3276637"/>
            <a:ext cx="2723528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F7381A8D-FC31-4731-8EE9-9D416462006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65432" y="3576894"/>
            <a:ext cx="2723529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EF852197-BF30-403E-BE22-7199D1CD3C31}"/>
              </a:ext>
            </a:extLst>
          </p:cNvPr>
          <p:cNvSpPr/>
          <p:nvPr userDrawn="1"/>
        </p:nvSpPr>
        <p:spPr>
          <a:xfrm>
            <a:off x="8411085" y="3293189"/>
            <a:ext cx="301080" cy="3010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185A363F-C980-4E2A-86F7-5DFE306A3E6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865432" y="4683026"/>
            <a:ext cx="2723528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EE72D02D-408B-4E1F-8996-ED1FF427377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65431" y="4983283"/>
            <a:ext cx="2723529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A9B7A80-9322-4869-ADFB-4A387B207D8F}"/>
              </a:ext>
            </a:extLst>
          </p:cNvPr>
          <p:cNvSpPr/>
          <p:nvPr userDrawn="1"/>
        </p:nvSpPr>
        <p:spPr>
          <a:xfrm>
            <a:off x="8411084" y="4699578"/>
            <a:ext cx="301080" cy="3010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5277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2D522933-87D3-431B-802B-892EC8292AFB}"/>
              </a:ext>
            </a:extLst>
          </p:cNvPr>
          <p:cNvSpPr/>
          <p:nvPr userDrawn="1"/>
        </p:nvSpPr>
        <p:spPr>
          <a:xfrm flipH="1">
            <a:off x="-2481970" y="-8501"/>
            <a:ext cx="3427352" cy="6875003"/>
          </a:xfrm>
          <a:custGeom>
            <a:avLst/>
            <a:gdLst>
              <a:gd name="connsiteX0" fmla="*/ 3115646 w 3115646"/>
              <a:gd name="connsiteY0" fmla="*/ 0 h 6249745"/>
              <a:gd name="connsiteX1" fmla="*/ 3115646 w 3115646"/>
              <a:gd name="connsiteY1" fmla="*/ 6249745 h 6249745"/>
              <a:gd name="connsiteX2" fmla="*/ 2964294 w 3115646"/>
              <a:gd name="connsiteY2" fmla="*/ 6245918 h 6249745"/>
              <a:gd name="connsiteX3" fmla="*/ 0 w 3115646"/>
              <a:gd name="connsiteY3" fmla="*/ 3124872 h 6249745"/>
              <a:gd name="connsiteX4" fmla="*/ 2964294 w 3115646"/>
              <a:gd name="connsiteY4" fmla="*/ 3827 h 6249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5646" h="6249745">
                <a:moveTo>
                  <a:pt x="3115646" y="0"/>
                </a:moveTo>
                <a:lnTo>
                  <a:pt x="3115646" y="6249745"/>
                </a:lnTo>
                <a:lnTo>
                  <a:pt x="2964294" y="6245918"/>
                </a:lnTo>
                <a:cubicBezTo>
                  <a:pt x="1313079" y="6162218"/>
                  <a:pt x="0" y="4796888"/>
                  <a:pt x="0" y="3124872"/>
                </a:cubicBezTo>
                <a:cubicBezTo>
                  <a:pt x="0" y="1452856"/>
                  <a:pt x="1313079" y="87527"/>
                  <a:pt x="2964294" y="3827"/>
                </a:cubicBezTo>
                <a:close/>
              </a:path>
            </a:pathLst>
          </a:cu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241FBD-F3D9-4AEF-9D8F-F4163ED20D91}"/>
              </a:ext>
            </a:extLst>
          </p:cNvPr>
          <p:cNvSpPr/>
          <p:nvPr userDrawn="1"/>
        </p:nvSpPr>
        <p:spPr>
          <a:xfrm>
            <a:off x="10187222" y="0"/>
            <a:ext cx="2004778" cy="68750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86F46DE-A54D-471D-9F04-25BAB63C436B}"/>
              </a:ext>
            </a:extLst>
          </p:cNvPr>
          <p:cNvSpPr/>
          <p:nvPr userDrawn="1"/>
        </p:nvSpPr>
        <p:spPr>
          <a:xfrm>
            <a:off x="6917635" y="0"/>
            <a:ext cx="3427352" cy="6875003"/>
          </a:xfrm>
          <a:custGeom>
            <a:avLst/>
            <a:gdLst>
              <a:gd name="connsiteX0" fmla="*/ 3115646 w 3115646"/>
              <a:gd name="connsiteY0" fmla="*/ 0 h 6249745"/>
              <a:gd name="connsiteX1" fmla="*/ 3115646 w 3115646"/>
              <a:gd name="connsiteY1" fmla="*/ 6249745 h 6249745"/>
              <a:gd name="connsiteX2" fmla="*/ 2964294 w 3115646"/>
              <a:gd name="connsiteY2" fmla="*/ 6245918 h 6249745"/>
              <a:gd name="connsiteX3" fmla="*/ 0 w 3115646"/>
              <a:gd name="connsiteY3" fmla="*/ 3124872 h 6249745"/>
              <a:gd name="connsiteX4" fmla="*/ 2964294 w 3115646"/>
              <a:gd name="connsiteY4" fmla="*/ 3827 h 6249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5646" h="6249745">
                <a:moveTo>
                  <a:pt x="3115646" y="0"/>
                </a:moveTo>
                <a:lnTo>
                  <a:pt x="3115646" y="6249745"/>
                </a:lnTo>
                <a:lnTo>
                  <a:pt x="2964294" y="6245918"/>
                </a:lnTo>
                <a:cubicBezTo>
                  <a:pt x="1313079" y="6162218"/>
                  <a:pt x="0" y="4796888"/>
                  <a:pt x="0" y="3124872"/>
                </a:cubicBezTo>
                <a:cubicBezTo>
                  <a:pt x="0" y="1452856"/>
                  <a:pt x="1313079" y="87527"/>
                  <a:pt x="2964294" y="3827"/>
                </a:cubicBezTo>
                <a:close/>
              </a:path>
            </a:pathLst>
          </a:cu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0379" y="102703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10379" y="6382238"/>
            <a:ext cx="2743200" cy="365125"/>
          </a:xfrm>
        </p:spPr>
        <p:txBody>
          <a:bodyPr/>
          <a:lstStyle>
            <a:lvl1pPr algn="l"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7CB386-A11E-4BCE-A413-1E1A0086F6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7059" y="1485900"/>
            <a:ext cx="1900838" cy="3875290"/>
          </a:xfrm>
          <a:prstGeom prst="rect">
            <a:avLst/>
          </a:prstGeom>
        </p:spPr>
      </p:pic>
      <p:sp>
        <p:nvSpPr>
          <p:cNvPr id="7" name="Picture Placeholder 16">
            <a:extLst>
              <a:ext uri="{FF2B5EF4-FFF2-40B4-BE49-F238E27FC236}">
                <a16:creationId xmlns:a16="http://schemas.microsoft.com/office/drawing/2014/main" id="{11528040-E92A-4A0D-9878-5BCB3C3EC923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7327009" y="1964603"/>
            <a:ext cx="1644713" cy="2938868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D0EF6BB-4063-49FE-ABD6-218920B631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7962" y="-964224"/>
            <a:ext cx="1900838" cy="3875290"/>
          </a:xfrm>
          <a:prstGeom prst="rect">
            <a:avLst/>
          </a:prstGeom>
        </p:spPr>
      </p:pic>
      <p:sp>
        <p:nvSpPr>
          <p:cNvPr id="9" name="Picture Placeholder 16">
            <a:extLst>
              <a:ext uri="{FF2B5EF4-FFF2-40B4-BE49-F238E27FC236}">
                <a16:creationId xmlns:a16="http://schemas.microsoft.com/office/drawing/2014/main" id="{47AC07FD-FD27-45C0-B3AA-19D0C690AC45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9877912" y="-485521"/>
            <a:ext cx="1644713" cy="2938868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CBED5F6-10CD-4E91-BCDD-3E8408058D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4143" y="4250032"/>
            <a:ext cx="1900838" cy="3875290"/>
          </a:xfrm>
          <a:prstGeom prst="rect">
            <a:avLst/>
          </a:prstGeom>
        </p:spPr>
      </p:pic>
      <p:sp>
        <p:nvSpPr>
          <p:cNvPr id="11" name="Picture Placeholder 16">
            <a:extLst>
              <a:ext uri="{FF2B5EF4-FFF2-40B4-BE49-F238E27FC236}">
                <a16:creationId xmlns:a16="http://schemas.microsoft.com/office/drawing/2014/main" id="{FEC55824-2B12-42B7-9F52-AE11434B1DDC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9904093" y="4728735"/>
            <a:ext cx="1644713" cy="2938868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8138F18-6647-4AEE-8994-63CC0D3D40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55309" y="2536622"/>
            <a:ext cx="3667362" cy="1215919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570F6EB9-D65F-4EC3-8739-6FA02B7E61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68777" y="3787395"/>
            <a:ext cx="3652413" cy="1469434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3513898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1" grpId="0" animBg="1"/>
    </p:bld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2D522933-87D3-431B-802B-892EC8292AFB}"/>
              </a:ext>
            </a:extLst>
          </p:cNvPr>
          <p:cNvSpPr/>
          <p:nvPr userDrawn="1"/>
        </p:nvSpPr>
        <p:spPr>
          <a:xfrm flipH="1">
            <a:off x="-1917346" y="-8501"/>
            <a:ext cx="3427352" cy="6875003"/>
          </a:xfrm>
          <a:custGeom>
            <a:avLst/>
            <a:gdLst>
              <a:gd name="connsiteX0" fmla="*/ 3115646 w 3115646"/>
              <a:gd name="connsiteY0" fmla="*/ 0 h 6249745"/>
              <a:gd name="connsiteX1" fmla="*/ 3115646 w 3115646"/>
              <a:gd name="connsiteY1" fmla="*/ 6249745 h 6249745"/>
              <a:gd name="connsiteX2" fmla="*/ 2964294 w 3115646"/>
              <a:gd name="connsiteY2" fmla="*/ 6245918 h 6249745"/>
              <a:gd name="connsiteX3" fmla="*/ 0 w 3115646"/>
              <a:gd name="connsiteY3" fmla="*/ 3124872 h 6249745"/>
              <a:gd name="connsiteX4" fmla="*/ 2964294 w 3115646"/>
              <a:gd name="connsiteY4" fmla="*/ 3827 h 6249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5646" h="6249745">
                <a:moveTo>
                  <a:pt x="3115646" y="0"/>
                </a:moveTo>
                <a:lnTo>
                  <a:pt x="3115646" y="6249745"/>
                </a:lnTo>
                <a:lnTo>
                  <a:pt x="2964294" y="6245918"/>
                </a:lnTo>
                <a:cubicBezTo>
                  <a:pt x="1313079" y="6162218"/>
                  <a:pt x="0" y="4796888"/>
                  <a:pt x="0" y="3124872"/>
                </a:cubicBezTo>
                <a:cubicBezTo>
                  <a:pt x="0" y="1452856"/>
                  <a:pt x="1313079" y="87527"/>
                  <a:pt x="2964294" y="3827"/>
                </a:cubicBezTo>
                <a:close/>
              </a:path>
            </a:pathLst>
          </a:cu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86F46DE-A54D-471D-9F04-25BAB63C436B}"/>
              </a:ext>
            </a:extLst>
          </p:cNvPr>
          <p:cNvSpPr/>
          <p:nvPr userDrawn="1"/>
        </p:nvSpPr>
        <p:spPr>
          <a:xfrm>
            <a:off x="10681994" y="0"/>
            <a:ext cx="3427352" cy="6875003"/>
          </a:xfrm>
          <a:custGeom>
            <a:avLst/>
            <a:gdLst>
              <a:gd name="connsiteX0" fmla="*/ 3115646 w 3115646"/>
              <a:gd name="connsiteY0" fmla="*/ 0 h 6249745"/>
              <a:gd name="connsiteX1" fmla="*/ 3115646 w 3115646"/>
              <a:gd name="connsiteY1" fmla="*/ 6249745 h 6249745"/>
              <a:gd name="connsiteX2" fmla="*/ 2964294 w 3115646"/>
              <a:gd name="connsiteY2" fmla="*/ 6245918 h 6249745"/>
              <a:gd name="connsiteX3" fmla="*/ 0 w 3115646"/>
              <a:gd name="connsiteY3" fmla="*/ 3124872 h 6249745"/>
              <a:gd name="connsiteX4" fmla="*/ 2964294 w 3115646"/>
              <a:gd name="connsiteY4" fmla="*/ 3827 h 6249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5646" h="6249745">
                <a:moveTo>
                  <a:pt x="3115646" y="0"/>
                </a:moveTo>
                <a:lnTo>
                  <a:pt x="3115646" y="6249745"/>
                </a:lnTo>
                <a:lnTo>
                  <a:pt x="2964294" y="6245918"/>
                </a:lnTo>
                <a:cubicBezTo>
                  <a:pt x="1313079" y="6162218"/>
                  <a:pt x="0" y="4796888"/>
                  <a:pt x="0" y="3124872"/>
                </a:cubicBezTo>
                <a:cubicBezTo>
                  <a:pt x="0" y="1452856"/>
                  <a:pt x="1313079" y="87527"/>
                  <a:pt x="2964294" y="3827"/>
                </a:cubicBezTo>
                <a:close/>
              </a:path>
            </a:pathLst>
          </a:cu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0379" y="102703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93958" y="6382238"/>
            <a:ext cx="2743200" cy="365125"/>
          </a:xfrm>
        </p:spPr>
        <p:txBody>
          <a:bodyPr/>
          <a:lstStyle>
            <a:lvl1pPr algn="r"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7CB386-A11E-4BCE-A413-1E1A0086F6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5244" y="2692575"/>
            <a:ext cx="1900838" cy="3875290"/>
          </a:xfrm>
          <a:prstGeom prst="rect">
            <a:avLst/>
          </a:prstGeom>
        </p:spPr>
      </p:pic>
      <p:sp>
        <p:nvSpPr>
          <p:cNvPr id="7" name="Picture Placeholder 16">
            <a:extLst>
              <a:ext uri="{FF2B5EF4-FFF2-40B4-BE49-F238E27FC236}">
                <a16:creationId xmlns:a16="http://schemas.microsoft.com/office/drawing/2014/main" id="{11528040-E92A-4A0D-9878-5BCB3C3EC923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5105194" y="3171278"/>
            <a:ext cx="1644713" cy="2938868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8138F18-6647-4AEE-8994-63CC0D3D40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11116" y="708793"/>
            <a:ext cx="6769768" cy="478323"/>
          </a:xfrm>
        </p:spPr>
        <p:txBody>
          <a:bodyPr>
            <a:normAutofit/>
          </a:bodyPr>
          <a:lstStyle>
            <a:lvl1pPr marL="0" indent="0" algn="ctr">
              <a:buNone/>
              <a:defRPr sz="2800" u="none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570F6EB9-D65F-4EC3-8739-6FA02B7E61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11117" y="1395631"/>
            <a:ext cx="6769768" cy="992177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0BCE90C-ABE7-4CF9-A6DF-BC63745374C3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6876082" y="3171278"/>
            <a:ext cx="1644713" cy="2938868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045F4DD8-AD84-448E-94BD-6751E70221A0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3333301" y="3171278"/>
            <a:ext cx="1644713" cy="2938868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19416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7" grpId="0" animBg="1"/>
      <p:bldP spid="18" grpId="0" animBg="1"/>
    </p:bld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E65AA05-B774-4B60-99FE-9FC3A2A60610}"/>
              </a:ext>
            </a:extLst>
          </p:cNvPr>
          <p:cNvSpPr/>
          <p:nvPr userDrawn="1"/>
        </p:nvSpPr>
        <p:spPr>
          <a:xfrm flipH="1">
            <a:off x="0" y="-2696837"/>
            <a:ext cx="3427352" cy="6875003"/>
          </a:xfrm>
          <a:custGeom>
            <a:avLst/>
            <a:gdLst>
              <a:gd name="connsiteX0" fmla="*/ 3115646 w 3115646"/>
              <a:gd name="connsiteY0" fmla="*/ 0 h 6249745"/>
              <a:gd name="connsiteX1" fmla="*/ 3115646 w 3115646"/>
              <a:gd name="connsiteY1" fmla="*/ 6249745 h 6249745"/>
              <a:gd name="connsiteX2" fmla="*/ 2964294 w 3115646"/>
              <a:gd name="connsiteY2" fmla="*/ 6245918 h 6249745"/>
              <a:gd name="connsiteX3" fmla="*/ 0 w 3115646"/>
              <a:gd name="connsiteY3" fmla="*/ 3124872 h 6249745"/>
              <a:gd name="connsiteX4" fmla="*/ 2964294 w 3115646"/>
              <a:gd name="connsiteY4" fmla="*/ 3827 h 6249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5646" h="6249745">
                <a:moveTo>
                  <a:pt x="3115646" y="0"/>
                </a:moveTo>
                <a:lnTo>
                  <a:pt x="3115646" y="6249745"/>
                </a:lnTo>
                <a:lnTo>
                  <a:pt x="2964294" y="6245918"/>
                </a:lnTo>
                <a:cubicBezTo>
                  <a:pt x="1313079" y="6162218"/>
                  <a:pt x="0" y="4796888"/>
                  <a:pt x="0" y="3124872"/>
                </a:cubicBezTo>
                <a:cubicBezTo>
                  <a:pt x="0" y="1452856"/>
                  <a:pt x="1313079" y="87527"/>
                  <a:pt x="2964294" y="3827"/>
                </a:cubicBezTo>
                <a:close/>
              </a:path>
            </a:pathLst>
          </a:cu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B5F1E9A-DC06-4881-B25D-D6037FD76E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4702" y="1144223"/>
            <a:ext cx="4495525" cy="1215919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5DDC7E96-E594-4DEA-82E8-28AEBF91BE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8519" y="2394996"/>
            <a:ext cx="4477201" cy="1469434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3415256-DF2A-4C26-BAED-14B26058F2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971" y="1932701"/>
            <a:ext cx="3969631" cy="3337564"/>
          </a:xfrm>
          <a:prstGeom prst="rect">
            <a:avLst/>
          </a:prstGeom>
        </p:spPr>
      </p:pic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3427428E-F521-4730-A405-9AFABDB93B4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1157757" y="2159264"/>
            <a:ext cx="3667162" cy="2018901"/>
          </a:xfrm>
          <a:custGeom>
            <a:avLst/>
            <a:gdLst>
              <a:gd name="connsiteX0" fmla="*/ 0 w 3667162"/>
              <a:gd name="connsiteY0" fmla="*/ 0 h 2018901"/>
              <a:gd name="connsiteX1" fmla="*/ 3667162 w 3667162"/>
              <a:gd name="connsiteY1" fmla="*/ 0 h 2018901"/>
              <a:gd name="connsiteX2" fmla="*/ 3667162 w 3667162"/>
              <a:gd name="connsiteY2" fmla="*/ 1424594 h 2018901"/>
              <a:gd name="connsiteX3" fmla="*/ 1266744 w 3667162"/>
              <a:gd name="connsiteY3" fmla="*/ 1424594 h 2018901"/>
              <a:gd name="connsiteX4" fmla="*/ 1192135 w 3667162"/>
              <a:gd name="connsiteY4" fmla="*/ 1499203 h 2018901"/>
              <a:gd name="connsiteX5" fmla="*/ 1192135 w 3667162"/>
              <a:gd name="connsiteY5" fmla="*/ 2018901 h 2018901"/>
              <a:gd name="connsiteX6" fmla="*/ 0 w 3667162"/>
              <a:gd name="connsiteY6" fmla="*/ 2018901 h 2018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67162" h="2018901">
                <a:moveTo>
                  <a:pt x="0" y="0"/>
                </a:moveTo>
                <a:lnTo>
                  <a:pt x="3667162" y="0"/>
                </a:lnTo>
                <a:lnTo>
                  <a:pt x="3667162" y="1424594"/>
                </a:lnTo>
                <a:lnTo>
                  <a:pt x="1266744" y="1424594"/>
                </a:lnTo>
                <a:cubicBezTo>
                  <a:pt x="1225539" y="1424594"/>
                  <a:pt x="1192135" y="1457998"/>
                  <a:pt x="1192135" y="1499203"/>
                </a:cubicBezTo>
                <a:lnTo>
                  <a:pt x="1192135" y="2018901"/>
                </a:lnTo>
                <a:lnTo>
                  <a:pt x="0" y="2018901"/>
                </a:lnTo>
                <a:close/>
              </a:path>
            </a:pathLst>
          </a:custGeom>
          <a:pattFill prst="pct50">
            <a:fgClr>
              <a:srgbClr val="92D050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D1F92B2-FE6E-47AE-8C10-903BC6891B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3979" y="3534237"/>
            <a:ext cx="3256739" cy="1952493"/>
          </a:xfrm>
          <a:prstGeom prst="rect">
            <a:avLst/>
          </a:prstGeom>
        </p:spPr>
      </p:pic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CB5C4B89-7C2D-4E7D-AFAB-D47425FCC79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420262" y="3682721"/>
            <a:ext cx="2499696" cy="1558146"/>
          </a:xfrm>
          <a:custGeom>
            <a:avLst/>
            <a:gdLst>
              <a:gd name="connsiteX0" fmla="*/ 0 w 2499696"/>
              <a:gd name="connsiteY0" fmla="*/ 0 h 1558146"/>
              <a:gd name="connsiteX1" fmla="*/ 2499696 w 2499696"/>
              <a:gd name="connsiteY1" fmla="*/ 0 h 1558146"/>
              <a:gd name="connsiteX2" fmla="*/ 2499696 w 2499696"/>
              <a:gd name="connsiteY2" fmla="*/ 181708 h 1558146"/>
              <a:gd name="connsiteX3" fmla="*/ 2265062 w 2499696"/>
              <a:gd name="connsiteY3" fmla="*/ 181708 h 1558146"/>
              <a:gd name="connsiteX4" fmla="*/ 2149340 w 2499696"/>
              <a:gd name="connsiteY4" fmla="*/ 297430 h 1558146"/>
              <a:gd name="connsiteX5" fmla="*/ 2149340 w 2499696"/>
              <a:gd name="connsiteY5" fmla="*/ 1558146 h 1558146"/>
              <a:gd name="connsiteX6" fmla="*/ 0 w 2499696"/>
              <a:gd name="connsiteY6" fmla="*/ 1558146 h 1558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99696" h="1558146">
                <a:moveTo>
                  <a:pt x="0" y="0"/>
                </a:moveTo>
                <a:lnTo>
                  <a:pt x="2499696" y="0"/>
                </a:lnTo>
                <a:lnTo>
                  <a:pt x="2499696" y="181708"/>
                </a:lnTo>
                <a:lnTo>
                  <a:pt x="2265062" y="181708"/>
                </a:lnTo>
                <a:cubicBezTo>
                  <a:pt x="2201151" y="181708"/>
                  <a:pt x="2149340" y="233519"/>
                  <a:pt x="2149340" y="297430"/>
                </a:cubicBezTo>
                <a:lnTo>
                  <a:pt x="2149340" y="1558146"/>
                </a:lnTo>
                <a:lnTo>
                  <a:pt x="0" y="1558146"/>
                </a:lnTo>
                <a:close/>
              </a:path>
            </a:pathLst>
          </a:custGeom>
          <a:pattFill prst="pct50">
            <a:fgClr>
              <a:srgbClr val="92D050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AD5A8D0-75F3-42A0-9A26-59097B36A2D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0209" y="3864430"/>
            <a:ext cx="795742" cy="1622300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92457F06-2678-466A-BC5E-FA02194743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21812" y="4074649"/>
            <a:ext cx="689580" cy="1223178"/>
          </a:xfrm>
          <a:prstGeom prst="rect">
            <a:avLst/>
          </a:prstGeom>
          <a:pattFill prst="pct50">
            <a:fgClr>
              <a:srgbClr val="92D050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</p:spTree>
    <p:extLst>
      <p:ext uri="{BB962C8B-B14F-4D97-AF65-F5344CB8AC3E}">
        <p14:creationId xmlns:p14="http://schemas.microsoft.com/office/powerpoint/2010/main" val="187018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2" grpId="0" animBg="1"/>
    </p:bld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DCAB5537-3BB2-4BBF-962E-C84E8570EE3F}"/>
              </a:ext>
            </a:extLst>
          </p:cNvPr>
          <p:cNvSpPr/>
          <p:nvPr userDrawn="1"/>
        </p:nvSpPr>
        <p:spPr>
          <a:xfrm flipH="1">
            <a:off x="8013861" y="-1527411"/>
            <a:ext cx="3510482" cy="7041760"/>
          </a:xfrm>
          <a:custGeom>
            <a:avLst/>
            <a:gdLst>
              <a:gd name="connsiteX0" fmla="*/ 3115646 w 3115646"/>
              <a:gd name="connsiteY0" fmla="*/ 0 h 6249745"/>
              <a:gd name="connsiteX1" fmla="*/ 3115646 w 3115646"/>
              <a:gd name="connsiteY1" fmla="*/ 6249745 h 6249745"/>
              <a:gd name="connsiteX2" fmla="*/ 2964294 w 3115646"/>
              <a:gd name="connsiteY2" fmla="*/ 6245918 h 6249745"/>
              <a:gd name="connsiteX3" fmla="*/ 0 w 3115646"/>
              <a:gd name="connsiteY3" fmla="*/ 3124872 h 6249745"/>
              <a:gd name="connsiteX4" fmla="*/ 2964294 w 3115646"/>
              <a:gd name="connsiteY4" fmla="*/ 3827 h 6249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5646" h="6249745">
                <a:moveTo>
                  <a:pt x="3115646" y="0"/>
                </a:moveTo>
                <a:lnTo>
                  <a:pt x="3115646" y="6249745"/>
                </a:lnTo>
                <a:lnTo>
                  <a:pt x="2964294" y="6245918"/>
                </a:lnTo>
                <a:cubicBezTo>
                  <a:pt x="1313079" y="6162218"/>
                  <a:pt x="0" y="4796888"/>
                  <a:pt x="0" y="3124872"/>
                </a:cubicBezTo>
                <a:cubicBezTo>
                  <a:pt x="0" y="1452856"/>
                  <a:pt x="1313079" y="87527"/>
                  <a:pt x="2964294" y="3827"/>
                </a:cubicBezTo>
                <a:close/>
              </a:path>
            </a:pathLst>
          </a:cu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451ECA3-36AC-4CDB-A13E-358FE4BC9BA0}"/>
              </a:ext>
            </a:extLst>
          </p:cNvPr>
          <p:cNvSpPr/>
          <p:nvPr userDrawn="1"/>
        </p:nvSpPr>
        <p:spPr>
          <a:xfrm flipH="1">
            <a:off x="0" y="-3244445"/>
            <a:ext cx="3510482" cy="7041760"/>
          </a:xfrm>
          <a:custGeom>
            <a:avLst/>
            <a:gdLst>
              <a:gd name="connsiteX0" fmla="*/ 3115646 w 3115646"/>
              <a:gd name="connsiteY0" fmla="*/ 0 h 6249745"/>
              <a:gd name="connsiteX1" fmla="*/ 3115646 w 3115646"/>
              <a:gd name="connsiteY1" fmla="*/ 6249745 h 6249745"/>
              <a:gd name="connsiteX2" fmla="*/ 2964294 w 3115646"/>
              <a:gd name="connsiteY2" fmla="*/ 6245918 h 6249745"/>
              <a:gd name="connsiteX3" fmla="*/ 0 w 3115646"/>
              <a:gd name="connsiteY3" fmla="*/ 3124872 h 6249745"/>
              <a:gd name="connsiteX4" fmla="*/ 2964294 w 3115646"/>
              <a:gd name="connsiteY4" fmla="*/ 3827 h 6249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5646" h="6249745">
                <a:moveTo>
                  <a:pt x="3115646" y="0"/>
                </a:moveTo>
                <a:lnTo>
                  <a:pt x="3115646" y="6249745"/>
                </a:lnTo>
                <a:lnTo>
                  <a:pt x="2964294" y="6245918"/>
                </a:lnTo>
                <a:cubicBezTo>
                  <a:pt x="1313079" y="6162218"/>
                  <a:pt x="0" y="4796888"/>
                  <a:pt x="0" y="3124872"/>
                </a:cubicBezTo>
                <a:cubicBezTo>
                  <a:pt x="0" y="1452856"/>
                  <a:pt x="1313079" y="87527"/>
                  <a:pt x="2964294" y="3827"/>
                </a:cubicBezTo>
                <a:close/>
              </a:path>
            </a:pathLst>
          </a:cu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613ECD-1E26-481F-804E-7CA23D6F60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486118" y="1411016"/>
            <a:ext cx="3625558" cy="5082886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964BDD55-00D4-42FD-93F9-1FA7CE00179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61651" y="2424753"/>
            <a:ext cx="4083187" cy="3072663"/>
          </a:xfrm>
          <a:prstGeom prst="rect">
            <a:avLst/>
          </a:prstGeom>
          <a:pattFill prst="pct50">
            <a:fgClr>
              <a:srgbClr val="92D050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10CCB861-94D6-42C6-9B05-F5DC194BFEF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427" y="2634356"/>
            <a:ext cx="4495525" cy="1215919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24DA615F-B384-488C-B32F-EF6F3994FC9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80244" y="3885129"/>
            <a:ext cx="4477201" cy="1469434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38690484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B11C6720-6625-4F49-AB7F-10AABD54A58E}"/>
              </a:ext>
            </a:extLst>
          </p:cNvPr>
          <p:cNvSpPr/>
          <p:nvPr userDrawn="1"/>
        </p:nvSpPr>
        <p:spPr>
          <a:xfrm>
            <a:off x="5996205" y="1373958"/>
            <a:ext cx="2662038" cy="2662038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7860" y="102703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860" y="6382238"/>
            <a:ext cx="2743200" cy="365125"/>
          </a:xfrm>
        </p:spPr>
        <p:txBody>
          <a:bodyPr/>
          <a:lstStyle>
            <a:lvl1pPr algn="l"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9ACF19EB-9A07-4C5F-9086-1CC2ECE608F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34745" y="612668"/>
            <a:ext cx="1554258" cy="1554398"/>
          </a:xfrm>
          <a:prstGeom prst="ellipse">
            <a:avLst/>
          </a:prstGeom>
          <a:pattFill prst="pct50">
            <a:fgClr>
              <a:srgbClr val="92D050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5F35748-1C8C-4378-9D70-6804D2CA0329}"/>
              </a:ext>
            </a:extLst>
          </p:cNvPr>
          <p:cNvSpPr/>
          <p:nvPr userDrawn="1"/>
        </p:nvSpPr>
        <p:spPr>
          <a:xfrm>
            <a:off x="5609880" y="2335457"/>
            <a:ext cx="308078" cy="308078"/>
          </a:xfrm>
          <a:prstGeom prst="ellipse">
            <a:avLst/>
          </a:prstGeom>
          <a:solidFill>
            <a:schemeClr val="tx2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CC0FDD9A-756C-4D4D-AF16-D35A1FCFBB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9259" y="3379644"/>
            <a:ext cx="4495525" cy="1215919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BB53E46-B154-4F55-9548-942A0E42E2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3076" y="4630417"/>
            <a:ext cx="4477201" cy="1212444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6A325BF0-A144-434D-AA47-1389F72357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77408" y="1198083"/>
            <a:ext cx="1068934" cy="317470"/>
          </a:xfrm>
        </p:spPr>
        <p:txBody>
          <a:bodyPr>
            <a:normAutofit/>
          </a:bodyPr>
          <a:lstStyle>
            <a:lvl1pPr marL="0" indent="0" algn="ctr">
              <a:buNone/>
              <a:defRPr sz="1400" b="1" u="none" spc="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B9BD599D-AE9C-4696-A1F5-5D14AE61902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594400" y="2259703"/>
            <a:ext cx="1472339" cy="1054508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9D31042-6209-4E6D-9062-D8F5E591CDDC}"/>
              </a:ext>
            </a:extLst>
          </p:cNvPr>
          <p:cNvSpPr/>
          <p:nvPr userDrawn="1"/>
        </p:nvSpPr>
        <p:spPr>
          <a:xfrm>
            <a:off x="8333866" y="4195962"/>
            <a:ext cx="2662038" cy="2662038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7DAAE5F0-F310-480A-9889-6AB1642F09D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772406" y="3434672"/>
            <a:ext cx="1554258" cy="1554398"/>
          </a:xfrm>
          <a:prstGeom prst="ellipse">
            <a:avLst/>
          </a:prstGeom>
          <a:pattFill prst="pct50">
            <a:fgClr>
              <a:srgbClr val="92D050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A330B79-B0F6-4267-89EE-EE3FA97D05C4}"/>
              </a:ext>
            </a:extLst>
          </p:cNvPr>
          <p:cNvSpPr/>
          <p:nvPr userDrawn="1"/>
        </p:nvSpPr>
        <p:spPr>
          <a:xfrm>
            <a:off x="7947541" y="5157461"/>
            <a:ext cx="308078" cy="308078"/>
          </a:xfrm>
          <a:prstGeom prst="ellipse">
            <a:avLst/>
          </a:prstGeom>
          <a:solidFill>
            <a:schemeClr val="tx2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3F839755-7AF0-4241-9C17-03770F89D4C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15069" y="4020087"/>
            <a:ext cx="1068934" cy="317470"/>
          </a:xfrm>
        </p:spPr>
        <p:txBody>
          <a:bodyPr>
            <a:normAutofit/>
          </a:bodyPr>
          <a:lstStyle>
            <a:lvl1pPr marL="0" indent="0" algn="ctr">
              <a:buNone/>
              <a:defRPr sz="1400" b="1" u="none" spc="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CAA983F5-76E8-442C-9B0C-4E2EC1D92D6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932061" y="5081707"/>
            <a:ext cx="1472339" cy="1054508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258207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4" grpId="0" animBg="1"/>
      <p:bldP spid="8" grpId="0" animBg="1"/>
      <p:bldP spid="17" grpId="0" build="p">
        <p:tmplLst>
          <p:tmpl lvl="1">
            <p:tnLst>
              <p:par>
                <p:cTn presetID="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9" grpId="0" animBg="1"/>
      <p:bldP spid="30" grpId="0" animBg="1"/>
      <p:bldP spid="31" grpId="0" animBg="1"/>
      <p:bldP spid="32" grpId="0" build="p">
        <p:tmplLst>
          <p:tmpl lvl="1">
            <p:tnLst>
              <p:par>
                <p:cTn presetID="2" presetClass="entr" presetSubtype="1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A6EB2463-6EDE-4914-860E-36D7C18A04E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-1"/>
            <a:ext cx="7017026" cy="6858000"/>
          </a:xfrm>
          <a:custGeom>
            <a:avLst/>
            <a:gdLst>
              <a:gd name="connsiteX0" fmla="*/ 0 w 7017026"/>
              <a:gd name="connsiteY0" fmla="*/ 0 h 6858000"/>
              <a:gd name="connsiteX1" fmla="*/ 5752049 w 7017026"/>
              <a:gd name="connsiteY1" fmla="*/ 0 h 6858000"/>
              <a:gd name="connsiteX2" fmla="*/ 5755121 w 7017026"/>
              <a:gd name="connsiteY2" fmla="*/ 3456 h 6858000"/>
              <a:gd name="connsiteX3" fmla="*/ 7017026 w 7017026"/>
              <a:gd name="connsiteY3" fmla="*/ 3429001 h 6858000"/>
              <a:gd name="connsiteX4" fmla="*/ 5755121 w 7017026"/>
              <a:gd name="connsiteY4" fmla="*/ 6854546 h 6858000"/>
              <a:gd name="connsiteX5" fmla="*/ 5752051 w 7017026"/>
              <a:gd name="connsiteY5" fmla="*/ 6858000 h 6858000"/>
              <a:gd name="connsiteX6" fmla="*/ 0 w 7017026"/>
              <a:gd name="connsiteY6" fmla="*/ 6858000 h 6858000"/>
              <a:gd name="connsiteX7" fmla="*/ 0 w 7017026"/>
              <a:gd name="connsiteY7" fmla="*/ 5486401 h 6858000"/>
              <a:gd name="connsiteX8" fmla="*/ 210356 w 7017026"/>
              <a:gd name="connsiteY8" fmla="*/ 5475779 h 6858000"/>
              <a:gd name="connsiteX9" fmla="*/ 2057399 w 7017026"/>
              <a:gd name="connsiteY9" fmla="*/ 3429001 h 6858000"/>
              <a:gd name="connsiteX10" fmla="*/ 210356 w 7017026"/>
              <a:gd name="connsiteY10" fmla="*/ 1382223 h 6858000"/>
              <a:gd name="connsiteX11" fmla="*/ 0 w 7017026"/>
              <a:gd name="connsiteY11" fmla="*/ 13716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017026" h="6858000">
                <a:moveTo>
                  <a:pt x="0" y="0"/>
                </a:moveTo>
                <a:lnTo>
                  <a:pt x="5752049" y="0"/>
                </a:lnTo>
                <a:lnTo>
                  <a:pt x="5755121" y="3456"/>
                </a:lnTo>
                <a:cubicBezTo>
                  <a:pt x="6543460" y="934352"/>
                  <a:pt x="7017026" y="2127783"/>
                  <a:pt x="7017026" y="3429001"/>
                </a:cubicBezTo>
                <a:cubicBezTo>
                  <a:pt x="7017026" y="4730220"/>
                  <a:pt x="6543460" y="5923651"/>
                  <a:pt x="5755121" y="6854546"/>
                </a:cubicBezTo>
                <a:lnTo>
                  <a:pt x="5752051" y="6858000"/>
                </a:lnTo>
                <a:lnTo>
                  <a:pt x="0" y="6858000"/>
                </a:lnTo>
                <a:lnTo>
                  <a:pt x="0" y="5486401"/>
                </a:lnTo>
                <a:lnTo>
                  <a:pt x="210356" y="5475779"/>
                </a:lnTo>
                <a:cubicBezTo>
                  <a:pt x="1247813" y="5370420"/>
                  <a:pt x="2057399" y="4494255"/>
                  <a:pt x="2057399" y="3429001"/>
                </a:cubicBezTo>
                <a:cubicBezTo>
                  <a:pt x="2057399" y="2363747"/>
                  <a:pt x="1247813" y="1487583"/>
                  <a:pt x="210356" y="1382223"/>
                </a:cubicBezTo>
                <a:lnTo>
                  <a:pt x="0" y="1371601"/>
                </a:lnTo>
                <a:close/>
              </a:path>
            </a:pathLst>
          </a:cu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179" name="Footer Placeholder 178">
            <a:extLst>
              <a:ext uri="{FF2B5EF4-FFF2-40B4-BE49-F238E27FC236}">
                <a16:creationId xmlns:a16="http://schemas.microsoft.com/office/drawing/2014/main" id="{5CD054DB-8FA4-4523-A3F7-F642F99E172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928860" y="63064"/>
            <a:ext cx="2148840" cy="365125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180" name="Slide Number Placeholder 179">
            <a:extLst>
              <a:ext uri="{FF2B5EF4-FFF2-40B4-BE49-F238E27FC236}">
                <a16:creationId xmlns:a16="http://schemas.microsoft.com/office/drawing/2014/main" id="{807D3C65-7FD3-44B8-9CB7-7E3AF438F52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334500" y="6492875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80A439CF-370C-4D08-B882-81BEEE5E6CDC}"/>
              </a:ext>
            </a:extLst>
          </p:cNvPr>
          <p:cNvSpPr/>
          <p:nvPr userDrawn="1"/>
        </p:nvSpPr>
        <p:spPr>
          <a:xfrm>
            <a:off x="-2057400" y="1371600"/>
            <a:ext cx="4114800" cy="41148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6EE70CEF-63F5-4EAD-8351-01DB446D88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4321" y="2574347"/>
            <a:ext cx="1389888" cy="1467301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241832948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7860" y="102703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860" y="6382238"/>
            <a:ext cx="2743200" cy="365125"/>
          </a:xfrm>
        </p:spPr>
        <p:txBody>
          <a:bodyPr/>
          <a:lstStyle>
            <a:lvl1pPr algn="l"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9D31042-6209-4E6D-9062-D8F5E591CDDC}"/>
              </a:ext>
            </a:extLst>
          </p:cNvPr>
          <p:cNvSpPr/>
          <p:nvPr userDrawn="1"/>
        </p:nvSpPr>
        <p:spPr>
          <a:xfrm>
            <a:off x="7362316" y="761290"/>
            <a:ext cx="2662038" cy="2662038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7DAAE5F0-F310-480A-9889-6AB1642F09D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048756" y="0"/>
            <a:ext cx="1554258" cy="1554398"/>
          </a:xfrm>
          <a:prstGeom prst="ellipse">
            <a:avLst/>
          </a:prstGeom>
          <a:pattFill prst="pct50">
            <a:fgClr>
              <a:srgbClr val="92D050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A330B79-B0F6-4267-89EE-EE3FA97D05C4}"/>
              </a:ext>
            </a:extLst>
          </p:cNvPr>
          <p:cNvSpPr/>
          <p:nvPr userDrawn="1"/>
        </p:nvSpPr>
        <p:spPr>
          <a:xfrm>
            <a:off x="10314471" y="1722789"/>
            <a:ext cx="308078" cy="308078"/>
          </a:xfrm>
          <a:prstGeom prst="ellipse">
            <a:avLst/>
          </a:prstGeom>
          <a:solidFill>
            <a:schemeClr val="tx2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3F839755-7AF0-4241-9C17-03770F89D4C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91419" y="585415"/>
            <a:ext cx="1068934" cy="317470"/>
          </a:xfrm>
        </p:spPr>
        <p:txBody>
          <a:bodyPr>
            <a:normAutofit/>
          </a:bodyPr>
          <a:lstStyle>
            <a:lvl1pPr marL="0" indent="0" algn="ctr">
              <a:buNone/>
              <a:defRPr sz="1400" b="1" u="none" spc="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CAA983F5-76E8-442C-9B0C-4E2EC1D92D6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60511" y="1647035"/>
            <a:ext cx="1472339" cy="1054508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5B3A91C-A980-43B5-9CE1-64DAAF77B3FF}"/>
              </a:ext>
            </a:extLst>
          </p:cNvPr>
          <p:cNvSpPr/>
          <p:nvPr userDrawn="1"/>
        </p:nvSpPr>
        <p:spPr>
          <a:xfrm>
            <a:off x="5442870" y="3583294"/>
            <a:ext cx="2662038" cy="2662038"/>
          </a:xfrm>
          <a:prstGeom prst="ellipse">
            <a:avLst/>
          </a:prstGeom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A7C85CB0-9790-4F0B-B952-AAC1C243C102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129310" y="2822004"/>
            <a:ext cx="1554258" cy="1554398"/>
          </a:xfrm>
          <a:prstGeom prst="ellipse">
            <a:avLst/>
          </a:prstGeom>
          <a:pattFill prst="pct50">
            <a:fgClr>
              <a:srgbClr val="92D050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221462F-E743-4C5C-952D-A66EA1BA696B}"/>
              </a:ext>
            </a:extLst>
          </p:cNvPr>
          <p:cNvSpPr/>
          <p:nvPr userDrawn="1"/>
        </p:nvSpPr>
        <p:spPr>
          <a:xfrm>
            <a:off x="8395025" y="4544793"/>
            <a:ext cx="308078" cy="308078"/>
          </a:xfrm>
          <a:prstGeom prst="ellipse">
            <a:avLst/>
          </a:prstGeom>
          <a:solidFill>
            <a:schemeClr val="tx2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D53080C7-C86B-49B3-BAE9-22568D72285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371973" y="3407419"/>
            <a:ext cx="1068934" cy="317470"/>
          </a:xfrm>
        </p:spPr>
        <p:txBody>
          <a:bodyPr>
            <a:normAutofit/>
          </a:bodyPr>
          <a:lstStyle>
            <a:lvl1pPr marL="0" indent="0" algn="ctr">
              <a:buNone/>
              <a:defRPr sz="1400" b="1" u="none" spc="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8B227E96-3A8E-414F-A300-C54B06326BF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041065" y="4469039"/>
            <a:ext cx="1472339" cy="1054508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F02DE138-8410-4B1A-8343-40A5BF1A5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33798" y="1418272"/>
            <a:ext cx="1854080" cy="1854248"/>
          </a:xfrm>
          <a:prstGeom prst="ellipse">
            <a:avLst/>
          </a:prstGeom>
          <a:pattFill prst="pct50">
            <a:fgClr>
              <a:srgbClr val="92D050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C36F19BF-E165-486B-A297-46F2234CFC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68030" y="1392581"/>
            <a:ext cx="2374840" cy="1002415"/>
          </a:xfrm>
        </p:spPr>
        <p:txBody>
          <a:bodyPr>
            <a:normAutofit/>
          </a:bodyPr>
          <a:lstStyle>
            <a:lvl1pPr marL="0" indent="0" algn="l">
              <a:buNone/>
              <a:defRPr sz="2800" b="1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7E3E3B24-EC84-4CD2-9E5F-8CC5F88531F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068030" y="1022887"/>
            <a:ext cx="2374840" cy="369694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3822041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32" grpId="0" build="p">
        <p:tmplLst>
          <p:tmpl lvl="1">
            <p:tnLst>
              <p:par>
                <p:cTn presetID="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animBg="1"/>
      <p:bldP spid="20" grpId="0" animBg="1"/>
      <p:bldP spid="21" grpId="0" animBg="1"/>
      <p:bldP spid="22" grpId="0" build="p">
        <p:tmplLst>
          <p:tmpl lvl="1">
            <p:tnLst>
              <p:par>
                <p:cTn presetID="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" grpId="0" animBg="1"/>
      <p:bldP spid="26" grpId="0" build="p">
        <p:tmplLst>
          <p:tmpl lvl="1">
            <p:tnLst>
              <p:par>
                <p:cTn presetID="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>
            <a:extLst>
              <a:ext uri="{FF2B5EF4-FFF2-40B4-BE49-F238E27FC236}">
                <a16:creationId xmlns:a16="http://schemas.microsoft.com/office/drawing/2014/main" id="{B895F2E9-A9BE-4CF9-925C-8ED4E94637E2}"/>
              </a:ext>
            </a:extLst>
          </p:cNvPr>
          <p:cNvSpPr/>
          <p:nvPr userDrawn="1"/>
        </p:nvSpPr>
        <p:spPr>
          <a:xfrm>
            <a:off x="4936780" y="2381529"/>
            <a:ext cx="2328334" cy="23283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450D124D-FDB1-4F04-B878-6DF436D78D7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9259" y="2785283"/>
            <a:ext cx="3000149" cy="506942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5F8AA240-8C92-4AC6-9234-99F9FD61441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3077" y="3327079"/>
            <a:ext cx="2987920" cy="1212444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EA2BB472-5844-4D37-B514-63BF2D332EF6}"/>
              </a:ext>
            </a:extLst>
          </p:cNvPr>
          <p:cNvSpPr/>
          <p:nvPr userDrawn="1"/>
        </p:nvSpPr>
        <p:spPr>
          <a:xfrm>
            <a:off x="4355423" y="3038754"/>
            <a:ext cx="1013884" cy="1013884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0CA2FA0B-9F9A-41B4-93D2-B44A1043867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11347" y="3070286"/>
            <a:ext cx="1472339" cy="317470"/>
          </a:xfrm>
        </p:spPr>
        <p:txBody>
          <a:bodyPr>
            <a:normAutofit/>
          </a:bodyPr>
          <a:lstStyle>
            <a:lvl1pPr marL="0" indent="0" algn="ctr">
              <a:buNone/>
              <a:defRPr sz="1400" b="1" u="none" spc="0">
                <a:solidFill>
                  <a:schemeClr val="tx2">
                    <a:lumMod val="5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4F7C82F-AC9E-4585-B41A-BF0DB96603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11348" y="3396384"/>
            <a:ext cx="1472339" cy="8425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250B73A-2BCA-4215-8950-1AE372D2394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59523" y="3387756"/>
            <a:ext cx="605684" cy="278755"/>
          </a:xfrm>
        </p:spPr>
        <p:txBody>
          <a:bodyPr>
            <a:noAutofit/>
          </a:bodyPr>
          <a:lstStyle>
            <a:lvl1pPr marL="0" indent="0" algn="l">
              <a:buNone/>
              <a:defRPr sz="2000" b="1" u="none" spc="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6A1C1BE-352B-4648-87E7-B59DEECD396C}"/>
              </a:ext>
            </a:extLst>
          </p:cNvPr>
          <p:cNvSpPr/>
          <p:nvPr userDrawn="1"/>
        </p:nvSpPr>
        <p:spPr>
          <a:xfrm>
            <a:off x="9334500" y="2381529"/>
            <a:ext cx="2328334" cy="23283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EC411B1-8047-474D-8FB5-B55C8896183A}"/>
              </a:ext>
            </a:extLst>
          </p:cNvPr>
          <p:cNvSpPr/>
          <p:nvPr userDrawn="1"/>
        </p:nvSpPr>
        <p:spPr>
          <a:xfrm>
            <a:off x="8753143" y="3038754"/>
            <a:ext cx="1013884" cy="1013884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82AB37FD-D6B7-4E73-85A0-276D46CD2D2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809067" y="3070286"/>
            <a:ext cx="1472339" cy="317470"/>
          </a:xfrm>
        </p:spPr>
        <p:txBody>
          <a:bodyPr>
            <a:normAutofit/>
          </a:bodyPr>
          <a:lstStyle>
            <a:lvl1pPr marL="0" indent="0" algn="ctr">
              <a:buNone/>
              <a:defRPr sz="1400" b="1" u="none" spc="0">
                <a:solidFill>
                  <a:schemeClr val="tx2">
                    <a:lumMod val="5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9B48C847-2473-4CC6-A8A1-756D6FFDA5A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809068" y="3396384"/>
            <a:ext cx="1472339" cy="8425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DCF8445C-ADD1-4365-B129-5854D9823A8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57243" y="3387756"/>
            <a:ext cx="605684" cy="278755"/>
          </a:xfrm>
        </p:spPr>
        <p:txBody>
          <a:bodyPr>
            <a:noAutofit/>
          </a:bodyPr>
          <a:lstStyle>
            <a:lvl1pPr marL="0" indent="0" algn="l">
              <a:buNone/>
              <a:defRPr sz="2000" b="1" u="none" spc="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4660A61-2AA8-4E0A-81B3-3A5D2627B58F}"/>
              </a:ext>
            </a:extLst>
          </p:cNvPr>
          <p:cNvCxnSpPr>
            <a:stCxn id="8" idx="6"/>
          </p:cNvCxnSpPr>
          <p:nvPr userDrawn="1"/>
        </p:nvCxnSpPr>
        <p:spPr>
          <a:xfrm>
            <a:off x="7265114" y="3545696"/>
            <a:ext cx="136307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4EB06055-C97E-467E-A91E-E622C4B8FB09}"/>
              </a:ext>
            </a:extLst>
          </p:cNvPr>
          <p:cNvCxnSpPr>
            <a:cxnSpLocks/>
          </p:cNvCxnSpPr>
          <p:nvPr userDrawn="1"/>
        </p:nvCxnSpPr>
        <p:spPr>
          <a:xfrm>
            <a:off x="11662834" y="3545696"/>
            <a:ext cx="70442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007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" grpId="0" animBg="1"/>
      <p:bldP spid="11" grpId="0" build="p">
        <p:tmplLst>
          <p:tmpl lvl="1"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animBg="1"/>
      <p:bldP spid="15" grpId="0" animBg="1"/>
      <p:bldP spid="16" grpId="0" build="p">
        <p:tmplLst>
          <p:tmpl lvl="1"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" presetClass="entr" presetSubtype="2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>
            <a:extLst>
              <a:ext uri="{FF2B5EF4-FFF2-40B4-BE49-F238E27FC236}">
                <a16:creationId xmlns:a16="http://schemas.microsoft.com/office/drawing/2014/main" id="{B895F2E9-A9BE-4CF9-925C-8ED4E94637E2}"/>
              </a:ext>
            </a:extLst>
          </p:cNvPr>
          <p:cNvSpPr/>
          <p:nvPr userDrawn="1"/>
        </p:nvSpPr>
        <p:spPr>
          <a:xfrm>
            <a:off x="1129711" y="2381529"/>
            <a:ext cx="2328334" cy="23283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EA2BB472-5844-4D37-B514-63BF2D332EF6}"/>
              </a:ext>
            </a:extLst>
          </p:cNvPr>
          <p:cNvSpPr/>
          <p:nvPr userDrawn="1"/>
        </p:nvSpPr>
        <p:spPr>
          <a:xfrm>
            <a:off x="548354" y="3038754"/>
            <a:ext cx="1013884" cy="1013884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0CA2FA0B-9F9A-41B4-93D2-B44A1043867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04278" y="3070286"/>
            <a:ext cx="1472339" cy="317470"/>
          </a:xfrm>
        </p:spPr>
        <p:txBody>
          <a:bodyPr>
            <a:normAutofit/>
          </a:bodyPr>
          <a:lstStyle>
            <a:lvl1pPr marL="0" indent="0" algn="ctr">
              <a:buNone/>
              <a:defRPr sz="1400" b="1" u="none" spc="0">
                <a:solidFill>
                  <a:schemeClr val="tx2">
                    <a:lumMod val="5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4F7C82F-AC9E-4585-B41A-BF0DB96603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04279" y="3396384"/>
            <a:ext cx="1472339" cy="8425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250B73A-2BCA-4215-8950-1AE372D2394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2454" y="3387756"/>
            <a:ext cx="605684" cy="278755"/>
          </a:xfrm>
        </p:spPr>
        <p:txBody>
          <a:bodyPr>
            <a:noAutofit/>
          </a:bodyPr>
          <a:lstStyle>
            <a:lvl1pPr marL="0" indent="0" algn="l">
              <a:buNone/>
              <a:defRPr sz="2000" b="1" u="none" spc="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4660A61-2AA8-4E0A-81B3-3A5D2627B58F}"/>
              </a:ext>
            </a:extLst>
          </p:cNvPr>
          <p:cNvCxnSpPr>
            <a:cxnSpLocks/>
            <a:stCxn id="8" idx="6"/>
          </p:cNvCxnSpPr>
          <p:nvPr userDrawn="1"/>
        </p:nvCxnSpPr>
        <p:spPr>
          <a:xfrm>
            <a:off x="3458045" y="3545696"/>
            <a:ext cx="7520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28">
            <a:extLst>
              <a:ext uri="{FF2B5EF4-FFF2-40B4-BE49-F238E27FC236}">
                <a16:creationId xmlns:a16="http://schemas.microsoft.com/office/drawing/2014/main" id="{9DE242CF-EAB3-45BE-9414-55C05CECA23D}"/>
              </a:ext>
            </a:extLst>
          </p:cNvPr>
          <p:cNvSpPr/>
          <p:nvPr userDrawn="1"/>
        </p:nvSpPr>
        <p:spPr>
          <a:xfrm>
            <a:off x="5172834" y="2381529"/>
            <a:ext cx="2328334" cy="23283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287F857-BD51-4D8B-AB72-B108B4688504}"/>
              </a:ext>
            </a:extLst>
          </p:cNvPr>
          <p:cNvSpPr/>
          <p:nvPr userDrawn="1"/>
        </p:nvSpPr>
        <p:spPr>
          <a:xfrm>
            <a:off x="4591477" y="3038754"/>
            <a:ext cx="1013884" cy="1013884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0E316516-B79C-4C3E-9193-925656FA769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647401" y="3070286"/>
            <a:ext cx="1472339" cy="317470"/>
          </a:xfrm>
        </p:spPr>
        <p:txBody>
          <a:bodyPr>
            <a:normAutofit/>
          </a:bodyPr>
          <a:lstStyle>
            <a:lvl1pPr marL="0" indent="0" algn="ctr">
              <a:buNone/>
              <a:defRPr sz="1400" b="1" u="none" spc="0">
                <a:solidFill>
                  <a:schemeClr val="tx2">
                    <a:lumMod val="5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4AA3D9E4-7954-4E47-8E6D-15255AF740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647402" y="3396384"/>
            <a:ext cx="1472339" cy="8425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3A26CBE5-B4EC-4D46-BAB2-1B242C1273B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95577" y="3387756"/>
            <a:ext cx="605684" cy="278755"/>
          </a:xfrm>
        </p:spPr>
        <p:txBody>
          <a:bodyPr>
            <a:noAutofit/>
          </a:bodyPr>
          <a:lstStyle>
            <a:lvl1pPr marL="0" indent="0" algn="l">
              <a:buNone/>
              <a:defRPr sz="2000" b="1" u="none" spc="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FB403351-488C-4983-BE39-5B0DCC67CEA9}"/>
              </a:ext>
            </a:extLst>
          </p:cNvPr>
          <p:cNvCxnSpPr>
            <a:cxnSpLocks/>
            <a:stCxn id="29" idx="6"/>
          </p:cNvCxnSpPr>
          <p:nvPr userDrawn="1"/>
        </p:nvCxnSpPr>
        <p:spPr>
          <a:xfrm>
            <a:off x="7501168" y="3545696"/>
            <a:ext cx="75200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722E9D12-4751-4918-A6EA-39119F653ACB}"/>
              </a:ext>
            </a:extLst>
          </p:cNvPr>
          <p:cNvSpPr/>
          <p:nvPr userDrawn="1"/>
        </p:nvSpPr>
        <p:spPr>
          <a:xfrm>
            <a:off x="9215957" y="2381529"/>
            <a:ext cx="2328334" cy="23283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F3F83A8C-A4E6-4D80-9842-C251A0FCA8E2}"/>
              </a:ext>
            </a:extLst>
          </p:cNvPr>
          <p:cNvSpPr/>
          <p:nvPr userDrawn="1"/>
        </p:nvSpPr>
        <p:spPr>
          <a:xfrm>
            <a:off x="8634600" y="3038754"/>
            <a:ext cx="1013884" cy="1013884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BD03CD61-924B-4526-B7BA-850BA8207F0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690524" y="3070286"/>
            <a:ext cx="1472339" cy="317470"/>
          </a:xfrm>
        </p:spPr>
        <p:txBody>
          <a:bodyPr>
            <a:normAutofit/>
          </a:bodyPr>
          <a:lstStyle>
            <a:lvl1pPr marL="0" indent="0" algn="ctr">
              <a:buNone/>
              <a:defRPr sz="1400" b="1" u="none" spc="0">
                <a:solidFill>
                  <a:schemeClr val="tx2">
                    <a:lumMod val="5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50" name="Text Placeholder 11">
            <a:extLst>
              <a:ext uri="{FF2B5EF4-FFF2-40B4-BE49-F238E27FC236}">
                <a16:creationId xmlns:a16="http://schemas.microsoft.com/office/drawing/2014/main" id="{93730A1C-9C0A-4CF7-B627-BE0B425FC3A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690525" y="3396384"/>
            <a:ext cx="1472339" cy="8425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C1D66DBD-6CF0-4D9C-8251-C991F95781F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38700" y="3387756"/>
            <a:ext cx="605684" cy="278755"/>
          </a:xfrm>
        </p:spPr>
        <p:txBody>
          <a:bodyPr>
            <a:noAutofit/>
          </a:bodyPr>
          <a:lstStyle>
            <a:lvl1pPr marL="0" indent="0" algn="l">
              <a:buNone/>
              <a:defRPr sz="2000" b="1" u="none" spc="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FCDD564E-E0F4-4560-A413-0D45B7353B7C}"/>
              </a:ext>
            </a:extLst>
          </p:cNvPr>
          <p:cNvCxnSpPr>
            <a:cxnSpLocks/>
          </p:cNvCxnSpPr>
          <p:nvPr userDrawn="1"/>
        </p:nvCxnSpPr>
        <p:spPr>
          <a:xfrm>
            <a:off x="-371505" y="3545696"/>
            <a:ext cx="112395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Picture Placeholder 2">
            <a:extLst>
              <a:ext uri="{FF2B5EF4-FFF2-40B4-BE49-F238E27FC236}">
                <a16:creationId xmlns:a16="http://schemas.microsoft.com/office/drawing/2014/main" id="{69D6FC30-4FD5-4670-954C-DD2456BB48B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166054" y="5045663"/>
            <a:ext cx="1482430" cy="1482565"/>
          </a:xfrm>
          <a:prstGeom prst="ellipse">
            <a:avLst/>
          </a:prstGeom>
          <a:pattFill prst="pct50">
            <a:fgClr>
              <a:srgbClr val="00B0F0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55" name="Text Placeholder 11">
            <a:extLst>
              <a:ext uri="{FF2B5EF4-FFF2-40B4-BE49-F238E27FC236}">
                <a16:creationId xmlns:a16="http://schemas.microsoft.com/office/drawing/2014/main" id="{88C0D723-AC23-4126-8758-E67B6FF867F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95173" y="5472684"/>
            <a:ext cx="2374840" cy="861623"/>
          </a:xfrm>
        </p:spPr>
        <p:txBody>
          <a:bodyPr>
            <a:normAutofit/>
          </a:bodyPr>
          <a:lstStyle>
            <a:lvl1pPr marL="0" indent="0" algn="l">
              <a:buNone/>
              <a:defRPr sz="2800" b="1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AD75FF90-FA78-4CE3-B534-E6F5DFB0277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95173" y="5102990"/>
            <a:ext cx="2374840" cy="369694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0B61DDAD-EF16-4E58-BB76-D7B5DBAAECFD}"/>
              </a:ext>
            </a:extLst>
          </p:cNvPr>
          <p:cNvCxnSpPr>
            <a:stCxn id="48" idx="4"/>
          </p:cNvCxnSpPr>
          <p:nvPr userDrawn="1"/>
        </p:nvCxnSpPr>
        <p:spPr>
          <a:xfrm>
            <a:off x="9141542" y="4052638"/>
            <a:ext cx="0" cy="8791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19433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10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" grpId="0" animBg="1"/>
      <p:bldP spid="11" grpId="0" build="p">
        <p:tmplLst>
          <p:tmpl lvl="1">
            <p:tnLst>
              <p:par>
                <p:cTn presetID="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9" grpId="0" animBg="1"/>
      <p:bldP spid="30" grpId="0" animBg="1"/>
      <p:bldP spid="31" grpId="0" build="p">
        <p:tmplLst>
          <p:tmpl lvl="1">
            <p:tnLst>
              <p:par>
                <p:cTn presetID="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0" animBg="1"/>
      <p:bldP spid="48" grpId="0" animBg="1"/>
      <p:bldP spid="49" grpId="0" build="p">
        <p:tmplLst>
          <p:tmpl lvl="1">
            <p:tnLst>
              <p:par>
                <p:cTn presetID="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4" grpId="0" animBg="1"/>
      <p:bldP spid="55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55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5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5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6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56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5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5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>
            <a:extLst>
              <a:ext uri="{FF2B5EF4-FFF2-40B4-BE49-F238E27FC236}">
                <a16:creationId xmlns:a16="http://schemas.microsoft.com/office/drawing/2014/main" id="{B895F2E9-A9BE-4CF9-925C-8ED4E94637E2}"/>
              </a:ext>
            </a:extLst>
          </p:cNvPr>
          <p:cNvSpPr/>
          <p:nvPr userDrawn="1"/>
        </p:nvSpPr>
        <p:spPr>
          <a:xfrm>
            <a:off x="4940253" y="3143084"/>
            <a:ext cx="2328334" cy="23283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450D124D-FDB1-4F04-B878-6DF436D78D7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78155" y="776972"/>
            <a:ext cx="4542942" cy="506942"/>
          </a:xfrm>
        </p:spPr>
        <p:txBody>
          <a:bodyPr>
            <a:normAutofit/>
          </a:bodyPr>
          <a:lstStyle>
            <a:lvl1pPr marL="0" indent="0" algn="ctr">
              <a:buNone/>
              <a:defRPr sz="2800" u="none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5F8AA240-8C92-4AC6-9234-99F9FD61441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5118" y="1318768"/>
            <a:ext cx="4524422" cy="910426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EA2BB472-5844-4D37-B514-63BF2D332EF6}"/>
              </a:ext>
            </a:extLst>
          </p:cNvPr>
          <p:cNvSpPr/>
          <p:nvPr userDrawn="1"/>
        </p:nvSpPr>
        <p:spPr>
          <a:xfrm>
            <a:off x="5573099" y="2517437"/>
            <a:ext cx="1013884" cy="1013884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0CA2FA0B-9F9A-41B4-93D2-B44A1043867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14820" y="3655557"/>
            <a:ext cx="1472339" cy="317470"/>
          </a:xfrm>
        </p:spPr>
        <p:txBody>
          <a:bodyPr>
            <a:normAutofit/>
          </a:bodyPr>
          <a:lstStyle>
            <a:lvl1pPr marL="0" indent="0" algn="ctr">
              <a:buNone/>
              <a:defRPr sz="1400" b="1" u="none" spc="0">
                <a:solidFill>
                  <a:schemeClr val="tx2">
                    <a:lumMod val="5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4F7C82F-AC9E-4585-B41A-BF0DB96603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14821" y="3981655"/>
            <a:ext cx="1472339" cy="8425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250B73A-2BCA-4215-8950-1AE372D2394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77199" y="2866439"/>
            <a:ext cx="605684" cy="278755"/>
          </a:xfrm>
        </p:spPr>
        <p:txBody>
          <a:bodyPr>
            <a:noAutofit/>
          </a:bodyPr>
          <a:lstStyle>
            <a:lvl1pPr marL="0" indent="0" algn="ctr">
              <a:buNone/>
              <a:defRPr sz="2000" b="1" u="none" spc="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032E447-A2F9-49B5-A3FA-CA6BFBD8280A}"/>
              </a:ext>
            </a:extLst>
          </p:cNvPr>
          <p:cNvCxnSpPr>
            <a:stCxn id="8" idx="4"/>
          </p:cNvCxnSpPr>
          <p:nvPr userDrawn="1"/>
        </p:nvCxnSpPr>
        <p:spPr>
          <a:xfrm>
            <a:off x="6104420" y="5471418"/>
            <a:ext cx="0" cy="15825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0678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" grpId="0" animBg="1"/>
      <p:bldP spid="11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1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2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3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>
            <a:extLst>
              <a:ext uri="{FF2B5EF4-FFF2-40B4-BE49-F238E27FC236}">
                <a16:creationId xmlns:a16="http://schemas.microsoft.com/office/drawing/2014/main" id="{B895F2E9-A9BE-4CF9-925C-8ED4E94637E2}"/>
              </a:ext>
            </a:extLst>
          </p:cNvPr>
          <p:cNvSpPr/>
          <p:nvPr userDrawn="1"/>
        </p:nvSpPr>
        <p:spPr>
          <a:xfrm>
            <a:off x="4933658" y="904357"/>
            <a:ext cx="2328334" cy="23283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EA2BB472-5844-4D37-B514-63BF2D332EF6}"/>
              </a:ext>
            </a:extLst>
          </p:cNvPr>
          <p:cNvSpPr/>
          <p:nvPr userDrawn="1"/>
        </p:nvSpPr>
        <p:spPr>
          <a:xfrm>
            <a:off x="5566504" y="278710"/>
            <a:ext cx="1013884" cy="1013884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0CA2FA0B-9F9A-41B4-93D2-B44A1043867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08225" y="1416830"/>
            <a:ext cx="1472339" cy="317470"/>
          </a:xfrm>
        </p:spPr>
        <p:txBody>
          <a:bodyPr>
            <a:normAutofit/>
          </a:bodyPr>
          <a:lstStyle>
            <a:lvl1pPr marL="0" indent="0" algn="ctr">
              <a:buNone/>
              <a:defRPr sz="1400" b="1" u="none" spc="0">
                <a:solidFill>
                  <a:schemeClr val="tx2">
                    <a:lumMod val="5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4F7C82F-AC9E-4585-B41A-BF0DB96603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08226" y="1742928"/>
            <a:ext cx="1472339" cy="8425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250B73A-2BCA-4215-8950-1AE372D2394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70604" y="627712"/>
            <a:ext cx="605684" cy="278755"/>
          </a:xfrm>
        </p:spPr>
        <p:txBody>
          <a:bodyPr>
            <a:noAutofit/>
          </a:bodyPr>
          <a:lstStyle>
            <a:lvl1pPr marL="0" indent="0" algn="ctr">
              <a:buNone/>
              <a:defRPr sz="2000" b="1" u="none" spc="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032E447-A2F9-49B5-A3FA-CA6BFBD8280A}"/>
              </a:ext>
            </a:extLst>
          </p:cNvPr>
          <p:cNvCxnSpPr>
            <a:cxnSpLocks/>
          </p:cNvCxnSpPr>
          <p:nvPr userDrawn="1"/>
        </p:nvCxnSpPr>
        <p:spPr>
          <a:xfrm>
            <a:off x="6097825" y="-921109"/>
            <a:ext cx="0" cy="15825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702934A8-B306-4F9A-BEAD-75A45B63F1C9}"/>
              </a:ext>
            </a:extLst>
          </p:cNvPr>
          <p:cNvSpPr/>
          <p:nvPr userDrawn="1"/>
        </p:nvSpPr>
        <p:spPr>
          <a:xfrm>
            <a:off x="4958037" y="4370811"/>
            <a:ext cx="2328334" cy="23283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C9F0B80-B7EF-4C00-B9AE-940F3056B2C7}"/>
              </a:ext>
            </a:extLst>
          </p:cNvPr>
          <p:cNvSpPr/>
          <p:nvPr userDrawn="1"/>
        </p:nvSpPr>
        <p:spPr>
          <a:xfrm>
            <a:off x="5590883" y="3745164"/>
            <a:ext cx="1013884" cy="1013884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D91F515-535C-4023-A6C7-58106CFDF18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432604" y="4883284"/>
            <a:ext cx="1472339" cy="317470"/>
          </a:xfrm>
        </p:spPr>
        <p:txBody>
          <a:bodyPr>
            <a:normAutofit/>
          </a:bodyPr>
          <a:lstStyle>
            <a:lvl1pPr marL="0" indent="0" algn="ctr">
              <a:buNone/>
              <a:defRPr sz="1400" b="1" u="none" spc="0">
                <a:solidFill>
                  <a:schemeClr val="tx2">
                    <a:lumMod val="5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AAF71265-0245-4808-A34C-513EF02AC1F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32605" y="5209382"/>
            <a:ext cx="1472339" cy="8425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94C83699-7C9F-4E3F-937B-9A10EA93504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794983" y="4094166"/>
            <a:ext cx="605684" cy="278755"/>
          </a:xfrm>
        </p:spPr>
        <p:txBody>
          <a:bodyPr>
            <a:noAutofit/>
          </a:bodyPr>
          <a:lstStyle>
            <a:lvl1pPr marL="0" indent="0" algn="ctr">
              <a:buNone/>
              <a:defRPr sz="2000" b="1" u="none" spc="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D689AFBC-0F71-413B-BF58-A157E2FBE4EE}"/>
              </a:ext>
            </a:extLst>
          </p:cNvPr>
          <p:cNvCxnSpPr>
            <a:stCxn id="8" idx="4"/>
          </p:cNvCxnSpPr>
          <p:nvPr userDrawn="1"/>
        </p:nvCxnSpPr>
        <p:spPr>
          <a:xfrm>
            <a:off x="6097825" y="3232691"/>
            <a:ext cx="0" cy="3102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2DECF5A2-B0D4-41D5-B5C0-F232438F71BE}"/>
              </a:ext>
            </a:extLst>
          </p:cNvPr>
          <p:cNvCxnSpPr>
            <a:stCxn id="14" idx="4"/>
          </p:cNvCxnSpPr>
          <p:nvPr userDrawn="1"/>
        </p:nvCxnSpPr>
        <p:spPr>
          <a:xfrm flipH="1">
            <a:off x="6097825" y="6699145"/>
            <a:ext cx="24379" cy="4563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E5A19F43-8791-4407-8C15-4B328FC3F289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768612" y="270082"/>
            <a:ext cx="1014984" cy="1014984"/>
          </a:xfrm>
          <a:prstGeom prst="ellipse">
            <a:avLst/>
          </a:prstGeom>
          <a:pattFill prst="pct50">
            <a:fgClr>
              <a:srgbClr val="92D050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8590297A-7591-4C3D-B808-1E807AFF0BB6}"/>
              </a:ext>
            </a:extLst>
          </p:cNvPr>
          <p:cNvCxnSpPr/>
          <p:nvPr userDrawn="1"/>
        </p:nvCxnSpPr>
        <p:spPr>
          <a:xfrm flipH="1">
            <a:off x="4252054" y="661416"/>
            <a:ext cx="131445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5770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" grpId="0" animBg="1"/>
      <p:bldP spid="11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1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2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3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animBg="1"/>
      <p:bldP spid="15" grpId="0" animBg="1"/>
      <p:bldP spid="16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6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7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8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3" grpId="0" animBg="1"/>
    </p:bld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>
            <a:extLst>
              <a:ext uri="{FF2B5EF4-FFF2-40B4-BE49-F238E27FC236}">
                <a16:creationId xmlns:a16="http://schemas.microsoft.com/office/drawing/2014/main" id="{B895F2E9-A9BE-4CF9-925C-8ED4E94637E2}"/>
              </a:ext>
            </a:extLst>
          </p:cNvPr>
          <p:cNvSpPr/>
          <p:nvPr userDrawn="1"/>
        </p:nvSpPr>
        <p:spPr>
          <a:xfrm>
            <a:off x="4933658" y="904357"/>
            <a:ext cx="2328334" cy="23283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EA2BB472-5844-4D37-B514-63BF2D332EF6}"/>
              </a:ext>
            </a:extLst>
          </p:cNvPr>
          <p:cNvSpPr/>
          <p:nvPr userDrawn="1"/>
        </p:nvSpPr>
        <p:spPr>
          <a:xfrm>
            <a:off x="5566504" y="278710"/>
            <a:ext cx="1013884" cy="1013884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0CA2FA0B-9F9A-41B4-93D2-B44A1043867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408225" y="1416830"/>
            <a:ext cx="1472339" cy="317470"/>
          </a:xfrm>
        </p:spPr>
        <p:txBody>
          <a:bodyPr>
            <a:normAutofit/>
          </a:bodyPr>
          <a:lstStyle>
            <a:lvl1pPr marL="0" indent="0" algn="ctr">
              <a:buNone/>
              <a:defRPr sz="1400" b="1" u="none" spc="0">
                <a:solidFill>
                  <a:schemeClr val="tx2">
                    <a:lumMod val="5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4F7C82F-AC9E-4585-B41A-BF0DB96603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408226" y="1742928"/>
            <a:ext cx="1472339" cy="8425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B250B73A-2BCA-4215-8950-1AE372D2394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70604" y="627712"/>
            <a:ext cx="605684" cy="278755"/>
          </a:xfrm>
        </p:spPr>
        <p:txBody>
          <a:bodyPr>
            <a:noAutofit/>
          </a:bodyPr>
          <a:lstStyle>
            <a:lvl1pPr marL="0" indent="0" algn="ctr">
              <a:buNone/>
              <a:defRPr sz="2000" b="1" u="none" spc="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F032E447-A2F9-49B5-A3FA-CA6BFBD8280A}"/>
              </a:ext>
            </a:extLst>
          </p:cNvPr>
          <p:cNvCxnSpPr>
            <a:cxnSpLocks/>
          </p:cNvCxnSpPr>
          <p:nvPr userDrawn="1"/>
        </p:nvCxnSpPr>
        <p:spPr>
          <a:xfrm>
            <a:off x="6097825" y="-921109"/>
            <a:ext cx="0" cy="15825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702934A8-B306-4F9A-BEAD-75A45B63F1C9}"/>
              </a:ext>
            </a:extLst>
          </p:cNvPr>
          <p:cNvSpPr/>
          <p:nvPr userDrawn="1"/>
        </p:nvSpPr>
        <p:spPr>
          <a:xfrm>
            <a:off x="4958037" y="4370811"/>
            <a:ext cx="2328334" cy="2328334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C9F0B80-B7EF-4C00-B9AE-940F3056B2C7}"/>
              </a:ext>
            </a:extLst>
          </p:cNvPr>
          <p:cNvSpPr/>
          <p:nvPr userDrawn="1"/>
        </p:nvSpPr>
        <p:spPr>
          <a:xfrm>
            <a:off x="5590883" y="3745164"/>
            <a:ext cx="1013884" cy="1013884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D91F515-535C-4023-A6C7-58106CFDF18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432604" y="4883284"/>
            <a:ext cx="1472339" cy="317470"/>
          </a:xfrm>
        </p:spPr>
        <p:txBody>
          <a:bodyPr>
            <a:normAutofit/>
          </a:bodyPr>
          <a:lstStyle>
            <a:lvl1pPr marL="0" indent="0" algn="ctr">
              <a:buNone/>
              <a:defRPr sz="1400" b="1" u="none" spc="0">
                <a:solidFill>
                  <a:schemeClr val="tx2">
                    <a:lumMod val="5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AAF71265-0245-4808-A34C-513EF02AC1F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32605" y="5209382"/>
            <a:ext cx="1472339" cy="842518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94C83699-7C9F-4E3F-937B-9A10EA93504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794983" y="4094166"/>
            <a:ext cx="605684" cy="278755"/>
          </a:xfrm>
        </p:spPr>
        <p:txBody>
          <a:bodyPr>
            <a:noAutofit/>
          </a:bodyPr>
          <a:lstStyle>
            <a:lvl1pPr marL="0" indent="0" algn="ctr">
              <a:buNone/>
              <a:defRPr sz="2000" b="1" u="none" spc="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D689AFBC-0F71-413B-BF58-A157E2FBE4EE}"/>
              </a:ext>
            </a:extLst>
          </p:cNvPr>
          <p:cNvCxnSpPr>
            <a:stCxn id="8" idx="4"/>
          </p:cNvCxnSpPr>
          <p:nvPr userDrawn="1"/>
        </p:nvCxnSpPr>
        <p:spPr>
          <a:xfrm>
            <a:off x="6097825" y="3232691"/>
            <a:ext cx="0" cy="3102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2DECF5A2-B0D4-41D5-B5C0-F232438F71BE}"/>
              </a:ext>
            </a:extLst>
          </p:cNvPr>
          <p:cNvCxnSpPr>
            <a:stCxn id="14" idx="4"/>
          </p:cNvCxnSpPr>
          <p:nvPr userDrawn="1"/>
        </p:nvCxnSpPr>
        <p:spPr>
          <a:xfrm flipH="1">
            <a:off x="6097825" y="6699145"/>
            <a:ext cx="24379" cy="4563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8E0A6639-561A-432D-B4AB-8777D3E15E4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049846" y="3723566"/>
            <a:ext cx="1014984" cy="1014984"/>
          </a:xfrm>
          <a:prstGeom prst="ellipse">
            <a:avLst/>
          </a:prstGeom>
          <a:pattFill prst="pct50">
            <a:fgClr>
              <a:srgbClr val="92D050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B24937B1-3352-4C00-84E5-51025E3DDF4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535512" y="3950636"/>
            <a:ext cx="2374840" cy="861623"/>
          </a:xfrm>
        </p:spPr>
        <p:txBody>
          <a:bodyPr>
            <a:normAutofit/>
          </a:bodyPr>
          <a:lstStyle>
            <a:lvl1pPr marL="0" indent="0" algn="l">
              <a:buNone/>
              <a:defRPr sz="2800" b="1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A6B9BE7E-1AFA-42EC-976E-FEA10E3F227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35512" y="3580942"/>
            <a:ext cx="2374840" cy="369694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130D4A29-E358-4440-BCFD-807356BF6E3C}"/>
              </a:ext>
            </a:extLst>
          </p:cNvPr>
          <p:cNvCxnSpPr>
            <a:cxnSpLocks/>
          </p:cNvCxnSpPr>
          <p:nvPr userDrawn="1"/>
        </p:nvCxnSpPr>
        <p:spPr>
          <a:xfrm flipV="1">
            <a:off x="6470115" y="4238171"/>
            <a:ext cx="1080257" cy="139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4838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" grpId="0" animBg="1"/>
      <p:bldP spid="11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1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2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3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animBg="1"/>
      <p:bldP spid="15" grpId="0" animBg="1"/>
      <p:bldP spid="16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6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7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8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animBg="1"/>
      <p:bldP spid="20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0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47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1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-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9CE01D8-121C-4023-90B7-C90F8D2FF647}"/>
              </a:ext>
            </a:extLst>
          </p:cNvPr>
          <p:cNvGrpSpPr/>
          <p:nvPr userDrawn="1"/>
        </p:nvGrpSpPr>
        <p:grpSpPr>
          <a:xfrm rot="5400000">
            <a:off x="-526111" y="-185343"/>
            <a:ext cx="3490837" cy="1271018"/>
            <a:chOff x="2450892" y="-2011841"/>
            <a:chExt cx="3490837" cy="1271018"/>
          </a:xfrm>
          <a:solidFill>
            <a:srgbClr val="00B0F0"/>
          </a:solidFill>
        </p:grpSpPr>
        <p:sp>
          <p:nvSpPr>
            <p:cNvPr id="7" name="Oval 98">
              <a:extLst>
                <a:ext uri="{FF2B5EF4-FFF2-40B4-BE49-F238E27FC236}">
                  <a16:creationId xmlns:a16="http://schemas.microsoft.com/office/drawing/2014/main" id="{9678DE65-22AC-4CE8-9DFB-C2DE760B29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450892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Oval 99">
              <a:extLst>
                <a:ext uri="{FF2B5EF4-FFF2-40B4-BE49-F238E27FC236}">
                  <a16:creationId xmlns:a16="http://schemas.microsoft.com/office/drawing/2014/main" id="{18E6842A-73BD-4E8F-B11D-C8F3BCC42B6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815244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Oval 100">
              <a:extLst>
                <a:ext uri="{FF2B5EF4-FFF2-40B4-BE49-F238E27FC236}">
                  <a16:creationId xmlns:a16="http://schemas.microsoft.com/office/drawing/2014/main" id="{BFA9E615-3424-4FFC-9BA6-79104DE930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179595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102">
              <a:extLst>
                <a:ext uri="{FF2B5EF4-FFF2-40B4-BE49-F238E27FC236}">
                  <a16:creationId xmlns:a16="http://schemas.microsoft.com/office/drawing/2014/main" id="{EBECC58A-A0D4-46F0-B451-C210769D147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907432" y="-1284006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103">
              <a:extLst>
                <a:ext uri="{FF2B5EF4-FFF2-40B4-BE49-F238E27FC236}">
                  <a16:creationId xmlns:a16="http://schemas.microsoft.com/office/drawing/2014/main" id="{3BD19D0C-AFF3-40FC-BD74-E120A20DC67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271783" y="-1284006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Oval 104">
              <a:extLst>
                <a:ext uri="{FF2B5EF4-FFF2-40B4-BE49-F238E27FC236}">
                  <a16:creationId xmlns:a16="http://schemas.microsoft.com/office/drawing/2014/main" id="{9E63833A-C076-489B-957B-1B73AD05B21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635268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Oval 105">
              <a:extLst>
                <a:ext uri="{FF2B5EF4-FFF2-40B4-BE49-F238E27FC236}">
                  <a16:creationId xmlns:a16="http://schemas.microsoft.com/office/drawing/2014/main" id="{542B5386-0640-4C4B-8025-DA57E10DBE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999620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Oval 106">
              <a:extLst>
                <a:ext uri="{FF2B5EF4-FFF2-40B4-BE49-F238E27FC236}">
                  <a16:creationId xmlns:a16="http://schemas.microsoft.com/office/drawing/2014/main" id="{E96F4284-9CFD-4123-A0B5-214A0E44035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363971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Oval 119">
              <a:extLst>
                <a:ext uri="{FF2B5EF4-FFF2-40B4-BE49-F238E27FC236}">
                  <a16:creationId xmlns:a16="http://schemas.microsoft.com/office/drawing/2014/main" id="{56114FC1-141A-414D-948F-26DB84511B1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451759" y="-1648356"/>
              <a:ext cx="213407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Oval 120">
              <a:extLst>
                <a:ext uri="{FF2B5EF4-FFF2-40B4-BE49-F238E27FC236}">
                  <a16:creationId xmlns:a16="http://schemas.microsoft.com/office/drawing/2014/main" id="{FF4260A2-EA93-44BE-BEFE-F9C7FD568D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816111" y="-1648356"/>
              <a:ext cx="213407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Oval 121">
              <a:extLst>
                <a:ext uri="{FF2B5EF4-FFF2-40B4-BE49-F238E27FC236}">
                  <a16:creationId xmlns:a16="http://schemas.microsoft.com/office/drawing/2014/main" id="{347D079B-586B-48BA-A343-7C223AAD54E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180463" y="-1648356"/>
              <a:ext cx="213407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Oval 122">
              <a:extLst>
                <a:ext uri="{FF2B5EF4-FFF2-40B4-BE49-F238E27FC236}">
                  <a16:creationId xmlns:a16="http://schemas.microsoft.com/office/drawing/2014/main" id="{8513497A-BFAF-4EA2-8450-1CA2E46C98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543947" y="-1647489"/>
              <a:ext cx="213407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123">
              <a:extLst>
                <a:ext uri="{FF2B5EF4-FFF2-40B4-BE49-F238E27FC236}">
                  <a16:creationId xmlns:a16="http://schemas.microsoft.com/office/drawing/2014/main" id="{5FD6760C-8E31-4105-A699-F000981CA0B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908299" y="-1647489"/>
              <a:ext cx="213407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Oval 124">
              <a:extLst>
                <a:ext uri="{FF2B5EF4-FFF2-40B4-BE49-F238E27FC236}">
                  <a16:creationId xmlns:a16="http://schemas.microsoft.com/office/drawing/2014/main" id="{42F789D7-A524-4906-B274-860496FD874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272651" y="-1647489"/>
              <a:ext cx="213407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126">
              <a:extLst>
                <a:ext uri="{FF2B5EF4-FFF2-40B4-BE49-F238E27FC236}">
                  <a16:creationId xmlns:a16="http://schemas.microsoft.com/office/drawing/2014/main" id="{BEC48D2A-8909-4A76-ABBA-FD17A0318C1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000487" y="-1648356"/>
              <a:ext cx="213407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128">
              <a:extLst>
                <a:ext uri="{FF2B5EF4-FFF2-40B4-BE49-F238E27FC236}">
                  <a16:creationId xmlns:a16="http://schemas.microsoft.com/office/drawing/2014/main" id="{9E8235C1-6AA9-4FE7-90C3-811296A7341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728322" y="-1647489"/>
              <a:ext cx="213407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140">
              <a:extLst>
                <a:ext uri="{FF2B5EF4-FFF2-40B4-BE49-F238E27FC236}">
                  <a16:creationId xmlns:a16="http://schemas.microsoft.com/office/drawing/2014/main" id="{E7B8A5BC-927C-4844-91F6-5F629932872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450892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141">
              <a:extLst>
                <a:ext uri="{FF2B5EF4-FFF2-40B4-BE49-F238E27FC236}">
                  <a16:creationId xmlns:a16="http://schemas.microsoft.com/office/drawing/2014/main" id="{84071CEC-BAB8-4940-BD23-764AC7A9745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815244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142">
              <a:extLst>
                <a:ext uri="{FF2B5EF4-FFF2-40B4-BE49-F238E27FC236}">
                  <a16:creationId xmlns:a16="http://schemas.microsoft.com/office/drawing/2014/main" id="{7E15E073-C4D0-47BB-82DD-8C1B5F2692F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179595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Oval 143">
              <a:extLst>
                <a:ext uri="{FF2B5EF4-FFF2-40B4-BE49-F238E27FC236}">
                  <a16:creationId xmlns:a16="http://schemas.microsoft.com/office/drawing/2014/main" id="{014C415A-E295-4A8C-B3C1-0309EA182A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543080" y="-2010974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144">
              <a:extLst>
                <a:ext uri="{FF2B5EF4-FFF2-40B4-BE49-F238E27FC236}">
                  <a16:creationId xmlns:a16="http://schemas.microsoft.com/office/drawing/2014/main" id="{C298D755-CD35-49A4-A8F8-5ADAD7C6D4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907432" y="-2010974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145">
              <a:extLst>
                <a:ext uri="{FF2B5EF4-FFF2-40B4-BE49-F238E27FC236}">
                  <a16:creationId xmlns:a16="http://schemas.microsoft.com/office/drawing/2014/main" id="{C7B10D6F-3BAF-44C0-9A35-2BEE1ADB95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271783" y="-2010974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146">
              <a:extLst>
                <a:ext uri="{FF2B5EF4-FFF2-40B4-BE49-F238E27FC236}">
                  <a16:creationId xmlns:a16="http://schemas.microsoft.com/office/drawing/2014/main" id="{BA3A23A9-9224-4B6C-9B40-BB2A4F3AEE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635268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147">
              <a:extLst>
                <a:ext uri="{FF2B5EF4-FFF2-40B4-BE49-F238E27FC236}">
                  <a16:creationId xmlns:a16="http://schemas.microsoft.com/office/drawing/2014/main" id="{99A2B8F1-01B2-45F0-949D-689BBC69AA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999620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148">
              <a:extLst>
                <a:ext uri="{FF2B5EF4-FFF2-40B4-BE49-F238E27FC236}">
                  <a16:creationId xmlns:a16="http://schemas.microsoft.com/office/drawing/2014/main" id="{19219C3A-F30C-4A30-9AC0-B8EF8A9263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363971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140">
              <a:extLst>
                <a:ext uri="{FF2B5EF4-FFF2-40B4-BE49-F238E27FC236}">
                  <a16:creationId xmlns:a16="http://schemas.microsoft.com/office/drawing/2014/main" id="{A863375D-05F3-452B-9798-7166AB669F6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450892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141">
              <a:extLst>
                <a:ext uri="{FF2B5EF4-FFF2-40B4-BE49-F238E27FC236}">
                  <a16:creationId xmlns:a16="http://schemas.microsoft.com/office/drawing/2014/main" id="{1DF58789-6DFD-4DA1-BF74-A43E56DC57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815244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142">
              <a:extLst>
                <a:ext uri="{FF2B5EF4-FFF2-40B4-BE49-F238E27FC236}">
                  <a16:creationId xmlns:a16="http://schemas.microsoft.com/office/drawing/2014/main" id="{1193FF59-7F51-493B-B3DB-70373CE7EAE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179595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143">
              <a:extLst>
                <a:ext uri="{FF2B5EF4-FFF2-40B4-BE49-F238E27FC236}">
                  <a16:creationId xmlns:a16="http://schemas.microsoft.com/office/drawing/2014/main" id="{6FD56BB0-59D2-4B79-9C23-FC5763EC2E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543080" y="-955097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144">
              <a:extLst>
                <a:ext uri="{FF2B5EF4-FFF2-40B4-BE49-F238E27FC236}">
                  <a16:creationId xmlns:a16="http://schemas.microsoft.com/office/drawing/2014/main" id="{15E4BB7F-2D47-44F4-BF6E-5F776831B8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907432" y="-955097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145">
              <a:extLst>
                <a:ext uri="{FF2B5EF4-FFF2-40B4-BE49-F238E27FC236}">
                  <a16:creationId xmlns:a16="http://schemas.microsoft.com/office/drawing/2014/main" id="{A46AC414-62EE-4B99-9B13-D8D19D04CF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271783" y="-955097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146">
              <a:extLst>
                <a:ext uri="{FF2B5EF4-FFF2-40B4-BE49-F238E27FC236}">
                  <a16:creationId xmlns:a16="http://schemas.microsoft.com/office/drawing/2014/main" id="{32DDCB28-7873-441A-8B02-588C1F26F5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635268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148">
              <a:extLst>
                <a:ext uri="{FF2B5EF4-FFF2-40B4-BE49-F238E27FC236}">
                  <a16:creationId xmlns:a16="http://schemas.microsoft.com/office/drawing/2014/main" id="{516744DC-E6B8-47AE-85E5-9F29021BE1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363971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149">
              <a:extLst>
                <a:ext uri="{FF2B5EF4-FFF2-40B4-BE49-F238E27FC236}">
                  <a16:creationId xmlns:a16="http://schemas.microsoft.com/office/drawing/2014/main" id="{DF0DD686-5EE6-4165-B55B-DA59D7A8E2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727455" y="-955097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D2CD3439-9B77-482E-8B22-09B106FB82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9260" y="3379644"/>
            <a:ext cx="3893244" cy="1944524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512E0BC2-0113-41A2-93C6-184D8C75E24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02557" y="3383119"/>
            <a:ext cx="4540249" cy="1941050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2710917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9CE01D8-121C-4023-90B7-C90F8D2FF647}"/>
              </a:ext>
            </a:extLst>
          </p:cNvPr>
          <p:cNvGrpSpPr/>
          <p:nvPr userDrawn="1"/>
        </p:nvGrpSpPr>
        <p:grpSpPr>
          <a:xfrm>
            <a:off x="-1096159" y="1369369"/>
            <a:ext cx="3490837" cy="1271018"/>
            <a:chOff x="2450892" y="-2011841"/>
            <a:chExt cx="3490837" cy="1271018"/>
          </a:xfrm>
          <a:solidFill>
            <a:srgbClr val="00B0F0"/>
          </a:solidFill>
        </p:grpSpPr>
        <p:sp>
          <p:nvSpPr>
            <p:cNvPr id="7" name="Oval 98">
              <a:extLst>
                <a:ext uri="{FF2B5EF4-FFF2-40B4-BE49-F238E27FC236}">
                  <a16:creationId xmlns:a16="http://schemas.microsoft.com/office/drawing/2014/main" id="{9678DE65-22AC-4CE8-9DFB-C2DE760B29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450892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Oval 99">
              <a:extLst>
                <a:ext uri="{FF2B5EF4-FFF2-40B4-BE49-F238E27FC236}">
                  <a16:creationId xmlns:a16="http://schemas.microsoft.com/office/drawing/2014/main" id="{18E6842A-73BD-4E8F-B11D-C8F3BCC42B6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815244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Oval 100">
              <a:extLst>
                <a:ext uri="{FF2B5EF4-FFF2-40B4-BE49-F238E27FC236}">
                  <a16:creationId xmlns:a16="http://schemas.microsoft.com/office/drawing/2014/main" id="{BFA9E615-3424-4FFC-9BA6-79104DE930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179595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102">
              <a:extLst>
                <a:ext uri="{FF2B5EF4-FFF2-40B4-BE49-F238E27FC236}">
                  <a16:creationId xmlns:a16="http://schemas.microsoft.com/office/drawing/2014/main" id="{EBECC58A-A0D4-46F0-B451-C210769D147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907432" y="-1284006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103">
              <a:extLst>
                <a:ext uri="{FF2B5EF4-FFF2-40B4-BE49-F238E27FC236}">
                  <a16:creationId xmlns:a16="http://schemas.microsoft.com/office/drawing/2014/main" id="{3BD19D0C-AFF3-40FC-BD74-E120A20DC67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271783" y="-1284006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Oval 104">
              <a:extLst>
                <a:ext uri="{FF2B5EF4-FFF2-40B4-BE49-F238E27FC236}">
                  <a16:creationId xmlns:a16="http://schemas.microsoft.com/office/drawing/2014/main" id="{9E63833A-C076-489B-957B-1B73AD05B21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635268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Oval 105">
              <a:extLst>
                <a:ext uri="{FF2B5EF4-FFF2-40B4-BE49-F238E27FC236}">
                  <a16:creationId xmlns:a16="http://schemas.microsoft.com/office/drawing/2014/main" id="{542B5386-0640-4C4B-8025-DA57E10DBE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999620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Oval 106">
              <a:extLst>
                <a:ext uri="{FF2B5EF4-FFF2-40B4-BE49-F238E27FC236}">
                  <a16:creationId xmlns:a16="http://schemas.microsoft.com/office/drawing/2014/main" id="{E96F4284-9CFD-4123-A0B5-214A0E44035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363971" y="-1284873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Oval 119">
              <a:extLst>
                <a:ext uri="{FF2B5EF4-FFF2-40B4-BE49-F238E27FC236}">
                  <a16:creationId xmlns:a16="http://schemas.microsoft.com/office/drawing/2014/main" id="{56114FC1-141A-414D-948F-26DB84511B1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451759" y="-1648356"/>
              <a:ext cx="213407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Oval 120">
              <a:extLst>
                <a:ext uri="{FF2B5EF4-FFF2-40B4-BE49-F238E27FC236}">
                  <a16:creationId xmlns:a16="http://schemas.microsoft.com/office/drawing/2014/main" id="{FF4260A2-EA93-44BE-BEFE-F9C7FD568D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816111" y="-1648356"/>
              <a:ext cx="213407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Oval 121">
              <a:extLst>
                <a:ext uri="{FF2B5EF4-FFF2-40B4-BE49-F238E27FC236}">
                  <a16:creationId xmlns:a16="http://schemas.microsoft.com/office/drawing/2014/main" id="{347D079B-586B-48BA-A343-7C223AAD54E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180463" y="-1648356"/>
              <a:ext cx="213407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Oval 122">
              <a:extLst>
                <a:ext uri="{FF2B5EF4-FFF2-40B4-BE49-F238E27FC236}">
                  <a16:creationId xmlns:a16="http://schemas.microsoft.com/office/drawing/2014/main" id="{8513497A-BFAF-4EA2-8450-1CA2E46C985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543947" y="-1647489"/>
              <a:ext cx="213407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123">
              <a:extLst>
                <a:ext uri="{FF2B5EF4-FFF2-40B4-BE49-F238E27FC236}">
                  <a16:creationId xmlns:a16="http://schemas.microsoft.com/office/drawing/2014/main" id="{5FD6760C-8E31-4105-A699-F000981CA0B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908299" y="-1647489"/>
              <a:ext cx="213407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Oval 124">
              <a:extLst>
                <a:ext uri="{FF2B5EF4-FFF2-40B4-BE49-F238E27FC236}">
                  <a16:creationId xmlns:a16="http://schemas.microsoft.com/office/drawing/2014/main" id="{42F789D7-A524-4906-B274-860496FD874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272651" y="-1647489"/>
              <a:ext cx="213407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126">
              <a:extLst>
                <a:ext uri="{FF2B5EF4-FFF2-40B4-BE49-F238E27FC236}">
                  <a16:creationId xmlns:a16="http://schemas.microsoft.com/office/drawing/2014/main" id="{BEC48D2A-8909-4A76-ABBA-FD17A0318C1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000487" y="-1648356"/>
              <a:ext cx="213407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128">
              <a:extLst>
                <a:ext uri="{FF2B5EF4-FFF2-40B4-BE49-F238E27FC236}">
                  <a16:creationId xmlns:a16="http://schemas.microsoft.com/office/drawing/2014/main" id="{9E8235C1-6AA9-4FE7-90C3-811296A7341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728322" y="-1647489"/>
              <a:ext cx="213407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140">
              <a:extLst>
                <a:ext uri="{FF2B5EF4-FFF2-40B4-BE49-F238E27FC236}">
                  <a16:creationId xmlns:a16="http://schemas.microsoft.com/office/drawing/2014/main" id="{E7B8A5BC-927C-4844-91F6-5F629932872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450892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141">
              <a:extLst>
                <a:ext uri="{FF2B5EF4-FFF2-40B4-BE49-F238E27FC236}">
                  <a16:creationId xmlns:a16="http://schemas.microsoft.com/office/drawing/2014/main" id="{84071CEC-BAB8-4940-BD23-764AC7A9745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815244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142">
              <a:extLst>
                <a:ext uri="{FF2B5EF4-FFF2-40B4-BE49-F238E27FC236}">
                  <a16:creationId xmlns:a16="http://schemas.microsoft.com/office/drawing/2014/main" id="{7E15E073-C4D0-47BB-82DD-8C1B5F2692F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179595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Oval 143">
              <a:extLst>
                <a:ext uri="{FF2B5EF4-FFF2-40B4-BE49-F238E27FC236}">
                  <a16:creationId xmlns:a16="http://schemas.microsoft.com/office/drawing/2014/main" id="{014C415A-E295-4A8C-B3C1-0309EA182AE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543080" y="-2010974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144">
              <a:extLst>
                <a:ext uri="{FF2B5EF4-FFF2-40B4-BE49-F238E27FC236}">
                  <a16:creationId xmlns:a16="http://schemas.microsoft.com/office/drawing/2014/main" id="{C298D755-CD35-49A4-A8F8-5ADAD7C6D4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907432" y="-2010974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145">
              <a:extLst>
                <a:ext uri="{FF2B5EF4-FFF2-40B4-BE49-F238E27FC236}">
                  <a16:creationId xmlns:a16="http://schemas.microsoft.com/office/drawing/2014/main" id="{C7B10D6F-3BAF-44C0-9A35-2BEE1ADB95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271783" y="-2010974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146">
              <a:extLst>
                <a:ext uri="{FF2B5EF4-FFF2-40B4-BE49-F238E27FC236}">
                  <a16:creationId xmlns:a16="http://schemas.microsoft.com/office/drawing/2014/main" id="{BA3A23A9-9224-4B6C-9B40-BB2A4F3AEE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635268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147">
              <a:extLst>
                <a:ext uri="{FF2B5EF4-FFF2-40B4-BE49-F238E27FC236}">
                  <a16:creationId xmlns:a16="http://schemas.microsoft.com/office/drawing/2014/main" id="{99A2B8F1-01B2-45F0-949D-689BBC69AA1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999620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148">
              <a:extLst>
                <a:ext uri="{FF2B5EF4-FFF2-40B4-BE49-F238E27FC236}">
                  <a16:creationId xmlns:a16="http://schemas.microsoft.com/office/drawing/2014/main" id="{19219C3A-F30C-4A30-9AC0-B8EF8A9263A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363971" y="-2011841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140">
              <a:extLst>
                <a:ext uri="{FF2B5EF4-FFF2-40B4-BE49-F238E27FC236}">
                  <a16:creationId xmlns:a16="http://schemas.microsoft.com/office/drawing/2014/main" id="{A863375D-05F3-452B-9798-7166AB669F6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450892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141">
              <a:extLst>
                <a:ext uri="{FF2B5EF4-FFF2-40B4-BE49-F238E27FC236}">
                  <a16:creationId xmlns:a16="http://schemas.microsoft.com/office/drawing/2014/main" id="{1DF58789-6DFD-4DA1-BF74-A43E56DC57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2815244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142">
              <a:extLst>
                <a:ext uri="{FF2B5EF4-FFF2-40B4-BE49-F238E27FC236}">
                  <a16:creationId xmlns:a16="http://schemas.microsoft.com/office/drawing/2014/main" id="{1193FF59-7F51-493B-B3DB-70373CE7EAE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179595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143">
              <a:extLst>
                <a:ext uri="{FF2B5EF4-FFF2-40B4-BE49-F238E27FC236}">
                  <a16:creationId xmlns:a16="http://schemas.microsoft.com/office/drawing/2014/main" id="{6FD56BB0-59D2-4B79-9C23-FC5763EC2E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543080" y="-955097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144">
              <a:extLst>
                <a:ext uri="{FF2B5EF4-FFF2-40B4-BE49-F238E27FC236}">
                  <a16:creationId xmlns:a16="http://schemas.microsoft.com/office/drawing/2014/main" id="{15E4BB7F-2D47-44F4-BF6E-5F776831B8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3907432" y="-955097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145">
              <a:extLst>
                <a:ext uri="{FF2B5EF4-FFF2-40B4-BE49-F238E27FC236}">
                  <a16:creationId xmlns:a16="http://schemas.microsoft.com/office/drawing/2014/main" id="{A46AC414-62EE-4B99-9B13-D8D19D04CF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271783" y="-955097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146">
              <a:extLst>
                <a:ext uri="{FF2B5EF4-FFF2-40B4-BE49-F238E27FC236}">
                  <a16:creationId xmlns:a16="http://schemas.microsoft.com/office/drawing/2014/main" id="{32DDCB28-7873-441A-8B02-588C1F26F5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4635268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148">
              <a:extLst>
                <a:ext uri="{FF2B5EF4-FFF2-40B4-BE49-F238E27FC236}">
                  <a16:creationId xmlns:a16="http://schemas.microsoft.com/office/drawing/2014/main" id="{516744DC-E6B8-47AE-85E5-9F29021BE1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363971" y="-955964"/>
              <a:ext cx="215141" cy="21514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149">
              <a:extLst>
                <a:ext uri="{FF2B5EF4-FFF2-40B4-BE49-F238E27FC236}">
                  <a16:creationId xmlns:a16="http://schemas.microsoft.com/office/drawing/2014/main" id="{DF0DD686-5EE6-4165-B55B-DA59D7A8E2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5400000">
              <a:off x="5727455" y="-955097"/>
              <a:ext cx="215141" cy="21340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D2CD3439-9B77-482E-8B22-09B106FB82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12521" y="1401128"/>
            <a:ext cx="3893244" cy="1239259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512E0BC2-0113-41A2-93C6-184D8C75E24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12522" y="3330257"/>
            <a:ext cx="3893244" cy="2132778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00805CC0-D83B-481F-BD45-20CBB33772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56703" y="3330257"/>
            <a:ext cx="3893244" cy="2132778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417191026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9D997D36-5D9F-4341-880C-50CC79B48318}"/>
              </a:ext>
            </a:extLst>
          </p:cNvPr>
          <p:cNvSpPr/>
          <p:nvPr userDrawn="1"/>
        </p:nvSpPr>
        <p:spPr>
          <a:xfrm>
            <a:off x="5182090" y="-1031808"/>
            <a:ext cx="5524010" cy="552401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58045EE-E218-499E-9D2C-927E573F4D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1597" y="2035252"/>
            <a:ext cx="6616103" cy="4272244"/>
          </a:xfrm>
          <a:prstGeom prst="rect">
            <a:avLst/>
          </a:prstGeom>
        </p:spPr>
      </p:pic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9E604019-4356-4141-9295-4AF420F29FB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589622" y="1425142"/>
            <a:ext cx="2500797" cy="5169917"/>
          </a:xfrm>
          <a:prstGeom prst="rect">
            <a:avLst/>
          </a:prstGeom>
          <a:pattFill prst="pct50">
            <a:fgClr>
              <a:srgbClr val="92D050"/>
            </a:fgClr>
            <a:bgClr>
              <a:schemeClr val="bg1"/>
            </a:bgClr>
          </a:pattFill>
          <a:effectLst/>
          <a:scene3d>
            <a:camera prst="orthographicFront">
              <a:rot lat="2400000" lon="2400000" rev="3630000"/>
            </a:camera>
            <a:lightRig rig="threePt" dir="t"/>
          </a:scene3d>
          <a:sp3d/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/>
              <a:t>Drag &amp; Drop Imag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96EFEF3B-79DC-4028-8CD8-ABECDBBB07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0225" y="1669774"/>
            <a:ext cx="3480972" cy="746433"/>
          </a:xfrm>
        </p:spPr>
        <p:txBody>
          <a:bodyPr>
            <a:normAutofit/>
          </a:bodyPr>
          <a:lstStyle>
            <a:lvl1pPr marL="0" indent="0" algn="l">
              <a:buNone/>
              <a:defRPr sz="2000" u="sng" spc="60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B3CA11B1-02E9-4FA5-B8CC-A244BC49F2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34041" y="2451060"/>
            <a:ext cx="3466783" cy="1504713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2061335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9CE5B89-7338-45E0-933C-EF2E93F638AA}"/>
              </a:ext>
            </a:extLst>
          </p:cNvPr>
          <p:cNvSpPr/>
          <p:nvPr userDrawn="1"/>
        </p:nvSpPr>
        <p:spPr>
          <a:xfrm>
            <a:off x="8766313" y="0"/>
            <a:ext cx="3425687" cy="6858000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2AD49B7-C2C4-4E38-8D59-9E9481708E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9281" y="1658899"/>
            <a:ext cx="9079579" cy="5443424"/>
          </a:xfrm>
          <a:prstGeom prst="rect">
            <a:avLst/>
          </a:prstGeom>
        </p:spPr>
      </p:pic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1F0AE89F-30F4-4CD6-B2F6-4834C55A82C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23665" y="2053124"/>
            <a:ext cx="6897586" cy="4371398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8122" y="102703"/>
            <a:ext cx="1934894" cy="347464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8122" y="6382238"/>
            <a:ext cx="2743200" cy="365125"/>
          </a:xfrm>
        </p:spPr>
        <p:txBody>
          <a:bodyPr/>
          <a:lstStyle>
            <a:lvl1pPr algn="l"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5C6E03B8-E791-4FB5-A87E-B00A7E39A4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3023" y="1121442"/>
            <a:ext cx="5177417" cy="781286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0">
                <a:solidFill>
                  <a:schemeClr val="bg2"/>
                </a:solidFill>
                <a:effectLst/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9BB27FA7-0FCD-408D-84E4-5B6FA8C1EF6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6841" y="1902728"/>
            <a:ext cx="5161971" cy="1248168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E84EFFFB-FACD-4F06-890C-6A7B7729157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96719" y="3407440"/>
            <a:ext cx="2383103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901C668-B2A1-42DA-8576-5E5C6B30658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96719" y="3707697"/>
            <a:ext cx="2383104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CF7CB5F-2EED-4335-8AF6-61B3B13483D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455709" y="3407440"/>
            <a:ext cx="2383103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2F24443-F28B-4FA4-899F-6358D48D6194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455709" y="3707697"/>
            <a:ext cx="2383104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E839EBD9-85F4-4E9A-8055-6D713F16CE49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96719" y="4749996"/>
            <a:ext cx="2383103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E4552D9D-2A4D-4198-AE06-AE890DF0B96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96719" y="5050253"/>
            <a:ext cx="2383104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BC1A21B-C40B-457D-AE53-88598211D4BB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455709" y="4749996"/>
            <a:ext cx="2383103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E1FF22DE-7249-4E18-8BC9-00539537F6E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455709" y="5050253"/>
            <a:ext cx="2383104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64432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val 28">
            <a:extLst>
              <a:ext uri="{FF2B5EF4-FFF2-40B4-BE49-F238E27FC236}">
                <a16:creationId xmlns:a16="http://schemas.microsoft.com/office/drawing/2014/main" id="{9205CFAD-1208-46A6-8F0A-82BB8EA5828E}"/>
              </a:ext>
            </a:extLst>
          </p:cNvPr>
          <p:cNvSpPr/>
          <p:nvPr userDrawn="1"/>
        </p:nvSpPr>
        <p:spPr>
          <a:xfrm>
            <a:off x="10644262" y="5589133"/>
            <a:ext cx="3232000" cy="323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F3F01639-CDAD-4328-B990-D76CD7898498}"/>
              </a:ext>
            </a:extLst>
          </p:cNvPr>
          <p:cNvSpPr/>
          <p:nvPr userDrawn="1"/>
        </p:nvSpPr>
        <p:spPr>
          <a:xfrm>
            <a:off x="-1479287" y="-1697943"/>
            <a:ext cx="3232000" cy="3232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2B7B16E-4BF4-495B-AF60-8C0D49B2B77D}"/>
              </a:ext>
            </a:extLst>
          </p:cNvPr>
          <p:cNvSpPr/>
          <p:nvPr userDrawn="1"/>
        </p:nvSpPr>
        <p:spPr>
          <a:xfrm>
            <a:off x="2963333" y="296333"/>
            <a:ext cx="6265334" cy="626533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1EEFA0-0339-4A99-B499-80BC8B092E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8533" y="6356350"/>
            <a:ext cx="2743200" cy="332317"/>
          </a:xfrm>
        </p:spPr>
        <p:txBody>
          <a:bodyPr/>
          <a:lstStyle>
            <a:lvl1pPr algn="l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896769-B07A-4F17-86B3-D593C0F3A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0"/>
            <a:ext cx="2743200" cy="365125"/>
          </a:xfrm>
        </p:spPr>
        <p:txBody>
          <a:bodyPr/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8A063CB9-D002-42D2-A0A2-5C7DA82734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0554" y="2541980"/>
            <a:ext cx="3580380" cy="52342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9AB5921-B534-48C5-869D-D54AFE2105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55621" y="3200376"/>
            <a:ext cx="2090246" cy="1557867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accent6">
                    <a:lumMod val="90000"/>
                    <a:lumOff val="1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F466D556-DF7F-4860-A2F7-6BB9345D9B6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9331" y="1303813"/>
            <a:ext cx="1758268" cy="346971"/>
          </a:xfrm>
        </p:spPr>
        <p:txBody>
          <a:bodyPr>
            <a:normAutofit/>
          </a:bodyPr>
          <a:lstStyle>
            <a:lvl1pPr marL="0" indent="0" algn="r">
              <a:buNone/>
              <a:defRPr sz="1400"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DD7C688F-1BE3-4777-ACEE-426842C27E3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543837" y="392845"/>
            <a:ext cx="2265229" cy="2265229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  <a:ln w="57150">
            <a:solidFill>
              <a:srgbClr val="00B0F0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D5E1CF8-0561-4E0F-A65C-3DB6959685B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9332" y="1525511"/>
            <a:ext cx="1758268" cy="327955"/>
          </a:xfrm>
        </p:spPr>
        <p:txBody>
          <a:bodyPr>
            <a:normAutofit/>
          </a:bodyPr>
          <a:lstStyle>
            <a:lvl1pPr marL="0" indent="0" algn="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5953B88F-07A6-49A1-B8D9-1D8C35198C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9331" y="4953188"/>
            <a:ext cx="1758268" cy="346971"/>
          </a:xfrm>
        </p:spPr>
        <p:txBody>
          <a:bodyPr>
            <a:normAutofit/>
          </a:bodyPr>
          <a:lstStyle>
            <a:lvl1pPr marL="0" indent="0" algn="r">
              <a:buNone/>
              <a:defRPr sz="1400"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0477A6A-5CD0-4217-A2AD-F592888F327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332" y="5174886"/>
            <a:ext cx="1758268" cy="327955"/>
          </a:xfrm>
        </p:spPr>
        <p:txBody>
          <a:bodyPr>
            <a:normAutofit/>
          </a:bodyPr>
          <a:lstStyle>
            <a:lvl1pPr marL="0" indent="0" algn="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AD5144E7-8661-469A-BAA1-7890A1CEE9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65128" y="1303813"/>
            <a:ext cx="1758268" cy="346971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8CA19739-9D58-4B43-A8D8-626933DFD7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65129" y="1525511"/>
            <a:ext cx="1758268" cy="32795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9974AD9B-2756-49DF-9B1B-9FC58CE6B4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65128" y="4953188"/>
            <a:ext cx="1758268" cy="346971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9CB97A56-4698-48D0-8052-E8E7DA8C6AB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765129" y="5174886"/>
            <a:ext cx="1758268" cy="32795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4C7DBD11-4FDA-4A08-BC8A-34BCDC323E79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2543836" y="3958546"/>
            <a:ext cx="2265229" cy="2265229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  <a:ln w="57150">
            <a:solidFill>
              <a:srgbClr val="00B0F0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26" name="Picture Placeholder 8">
            <a:extLst>
              <a:ext uri="{FF2B5EF4-FFF2-40B4-BE49-F238E27FC236}">
                <a16:creationId xmlns:a16="http://schemas.microsoft.com/office/drawing/2014/main" id="{5455DB18-AB67-4041-95E6-9F145DD0B69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411273" y="392845"/>
            <a:ext cx="2265229" cy="2265229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  <a:ln w="57150">
            <a:solidFill>
              <a:srgbClr val="00B0F0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A50376E0-CE2C-49F6-9F47-1C43FA2142D1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411272" y="3958546"/>
            <a:ext cx="2265229" cy="2265229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  <a:ln w="57150">
            <a:solidFill>
              <a:srgbClr val="00B0F0"/>
            </a:solidFill>
          </a:ln>
        </p:spPr>
        <p:txBody>
          <a:bodyPr/>
          <a:lstStyle/>
          <a:p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29ECFBA-19E7-453C-81F2-B9868A695683}"/>
              </a:ext>
            </a:extLst>
          </p:cNvPr>
          <p:cNvGrpSpPr/>
          <p:nvPr userDrawn="1"/>
        </p:nvGrpSpPr>
        <p:grpSpPr>
          <a:xfrm rot="10800000">
            <a:off x="11661805" y="-700882"/>
            <a:ext cx="338138" cy="1401763"/>
            <a:chOff x="7790118" y="7698260"/>
            <a:chExt cx="338138" cy="1401763"/>
          </a:xfrm>
          <a:solidFill>
            <a:schemeClr val="tx2">
              <a:lumMod val="75000"/>
            </a:schemeClr>
          </a:solidFill>
        </p:grpSpPr>
        <p:sp>
          <p:nvSpPr>
            <p:cNvPr id="31" name="Oval 159">
              <a:extLst>
                <a:ext uri="{FF2B5EF4-FFF2-40B4-BE49-F238E27FC236}">
                  <a16:creationId xmlns:a16="http://schemas.microsoft.com/office/drawing/2014/main" id="{400E9B95-FCAF-4289-BFE8-E1BC2A4FC9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9746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160">
              <a:extLst>
                <a:ext uri="{FF2B5EF4-FFF2-40B4-BE49-F238E27FC236}">
                  <a16:creationId xmlns:a16="http://schemas.microsoft.com/office/drawing/2014/main" id="{5D6DBF93-CEC5-4472-9639-64BF7D92E04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9746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163">
              <a:extLst>
                <a:ext uri="{FF2B5EF4-FFF2-40B4-BE49-F238E27FC236}">
                  <a16:creationId xmlns:a16="http://schemas.microsoft.com/office/drawing/2014/main" id="{F58DEFA1-98A9-4620-978A-E24440D26B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7618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164">
              <a:extLst>
                <a:ext uri="{FF2B5EF4-FFF2-40B4-BE49-F238E27FC236}">
                  <a16:creationId xmlns:a16="http://schemas.microsoft.com/office/drawing/2014/main" id="{312D1AFE-CEA4-47A4-B522-EE414FFC2A5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7618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167">
              <a:extLst>
                <a:ext uri="{FF2B5EF4-FFF2-40B4-BE49-F238E27FC236}">
                  <a16:creationId xmlns:a16="http://schemas.microsoft.com/office/drawing/2014/main" id="{AF0D2A3E-7357-4AF3-B15C-4DEAC783CAB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5491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168">
              <a:extLst>
                <a:ext uri="{FF2B5EF4-FFF2-40B4-BE49-F238E27FC236}">
                  <a16:creationId xmlns:a16="http://schemas.microsoft.com/office/drawing/2014/main" id="{A9AF6C07-71C0-4A18-A53E-E6C072C46D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5491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169">
              <a:extLst>
                <a:ext uri="{FF2B5EF4-FFF2-40B4-BE49-F238E27FC236}">
                  <a16:creationId xmlns:a16="http://schemas.microsoft.com/office/drawing/2014/main" id="{B04398E9-FC62-4A32-B17F-6D4299382C4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33643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170">
              <a:extLst>
                <a:ext uri="{FF2B5EF4-FFF2-40B4-BE49-F238E27FC236}">
                  <a16:creationId xmlns:a16="http://schemas.microsoft.com/office/drawing/2014/main" id="{0B9BFA22-BAD3-4EAB-B2D8-C56030C82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33643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171">
              <a:extLst>
                <a:ext uri="{FF2B5EF4-FFF2-40B4-BE49-F238E27FC236}">
                  <a16:creationId xmlns:a16="http://schemas.microsoft.com/office/drawing/2014/main" id="{6AC60C55-838A-4FAF-9654-C57B4F0C1AE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81237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172">
              <a:extLst>
                <a:ext uri="{FF2B5EF4-FFF2-40B4-BE49-F238E27FC236}">
                  <a16:creationId xmlns:a16="http://schemas.microsoft.com/office/drawing/2014/main" id="{50D02F70-859D-4DAB-9C81-FC08572AFA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812371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173">
              <a:extLst>
                <a:ext uri="{FF2B5EF4-FFF2-40B4-BE49-F238E27FC236}">
                  <a16:creationId xmlns:a16="http://schemas.microsoft.com/office/drawing/2014/main" id="{F93A8B11-F3D5-4642-A618-8CE04547046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79109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174">
              <a:extLst>
                <a:ext uri="{FF2B5EF4-FFF2-40B4-BE49-F238E27FC236}">
                  <a16:creationId xmlns:a16="http://schemas.microsoft.com/office/drawing/2014/main" id="{2DD2BC18-D43F-4BFF-AB58-FAECCBAE80A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7910985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Oval 175">
              <a:extLst>
                <a:ext uri="{FF2B5EF4-FFF2-40B4-BE49-F238E27FC236}">
                  <a16:creationId xmlns:a16="http://schemas.microsoft.com/office/drawing/2014/main" id="{EF8CCF55-6421-4BD6-92FD-9AF6E840C5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90118" y="76982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Oval 176">
              <a:extLst>
                <a:ext uri="{FF2B5EF4-FFF2-40B4-BE49-F238E27FC236}">
                  <a16:creationId xmlns:a16="http://schemas.microsoft.com/office/drawing/2014/main" id="{D07B2FD7-5365-45B3-B870-8408F58BCE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02843" y="7698260"/>
              <a:ext cx="125413" cy="125413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84616704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3E5AD96-FA8F-419F-AD2C-043B6DD7D5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0390E24-6201-40B0-B791-F64EEC80FE6E}"/>
              </a:ext>
            </a:extLst>
          </p:cNvPr>
          <p:cNvGrpSpPr/>
          <p:nvPr userDrawn="1"/>
        </p:nvGrpSpPr>
        <p:grpSpPr>
          <a:xfrm>
            <a:off x="264799" y="311346"/>
            <a:ext cx="3656148" cy="3369444"/>
            <a:chOff x="1438275" y="2505075"/>
            <a:chExt cx="2206625" cy="2033588"/>
          </a:xfrm>
          <a:solidFill>
            <a:schemeClr val="bg1"/>
          </a:solidFill>
        </p:grpSpPr>
        <p:sp>
          <p:nvSpPr>
            <p:cNvPr id="9" name="Oval 177">
              <a:extLst>
                <a:ext uri="{FF2B5EF4-FFF2-40B4-BE49-F238E27FC236}">
                  <a16:creationId xmlns:a16="http://schemas.microsoft.com/office/drawing/2014/main" id="{7A62C33A-5C42-4109-B1A2-70140D65E98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Oval 178">
              <a:extLst>
                <a:ext uri="{FF2B5EF4-FFF2-40B4-BE49-F238E27FC236}">
                  <a16:creationId xmlns:a16="http://schemas.microsoft.com/office/drawing/2014/main" id="{79C0B9C9-DA16-4C82-95D2-19CFD157482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Oval 179">
              <a:extLst>
                <a:ext uri="{FF2B5EF4-FFF2-40B4-BE49-F238E27FC236}">
                  <a16:creationId xmlns:a16="http://schemas.microsoft.com/office/drawing/2014/main" id="{15F94D72-33EB-48B1-A8F6-859A255369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Oval 180">
              <a:extLst>
                <a:ext uri="{FF2B5EF4-FFF2-40B4-BE49-F238E27FC236}">
                  <a16:creationId xmlns:a16="http://schemas.microsoft.com/office/drawing/2014/main" id="{B0047644-2640-491E-9B0B-C25F216D9F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4354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Oval 181">
              <a:extLst>
                <a:ext uri="{FF2B5EF4-FFF2-40B4-BE49-F238E27FC236}">
                  <a16:creationId xmlns:a16="http://schemas.microsoft.com/office/drawing/2014/main" id="{A87D6742-77A8-46CF-BD97-C40B153100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Oval 182">
              <a:extLst>
                <a:ext uri="{FF2B5EF4-FFF2-40B4-BE49-F238E27FC236}">
                  <a16:creationId xmlns:a16="http://schemas.microsoft.com/office/drawing/2014/main" id="{43CCE867-53A5-469A-81BF-FDE40692C7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Oval 183">
              <a:extLst>
                <a:ext uri="{FF2B5EF4-FFF2-40B4-BE49-F238E27FC236}">
                  <a16:creationId xmlns:a16="http://schemas.microsoft.com/office/drawing/2014/main" id="{AED61D0A-BE42-42A1-A7A8-252D45C678F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Oval 184">
              <a:extLst>
                <a:ext uri="{FF2B5EF4-FFF2-40B4-BE49-F238E27FC236}">
                  <a16:creationId xmlns:a16="http://schemas.microsoft.com/office/drawing/2014/main" id="{BD90A0D6-F863-415B-833C-D9F5F0560C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Oval 185">
              <a:extLst>
                <a:ext uri="{FF2B5EF4-FFF2-40B4-BE49-F238E27FC236}">
                  <a16:creationId xmlns:a16="http://schemas.microsoft.com/office/drawing/2014/main" id="{2020ED24-9746-4B0B-B63F-B9421F4CE4A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Oval 186">
              <a:extLst>
                <a:ext uri="{FF2B5EF4-FFF2-40B4-BE49-F238E27FC236}">
                  <a16:creationId xmlns:a16="http://schemas.microsoft.com/office/drawing/2014/main" id="{068ECDD7-CBCA-4CD3-8FD4-3BF4514107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2592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187">
              <a:extLst>
                <a:ext uri="{FF2B5EF4-FFF2-40B4-BE49-F238E27FC236}">
                  <a16:creationId xmlns:a16="http://schemas.microsoft.com/office/drawing/2014/main" id="{97293D64-2A53-4B26-A1D2-4E9E4D66C8C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42592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Oval 188">
              <a:extLst>
                <a:ext uri="{FF2B5EF4-FFF2-40B4-BE49-F238E27FC236}">
                  <a16:creationId xmlns:a16="http://schemas.microsoft.com/office/drawing/2014/main" id="{111F3ACC-23DC-46C6-8625-2026785E27A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408463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Oval 189">
              <a:extLst>
                <a:ext uri="{FF2B5EF4-FFF2-40B4-BE49-F238E27FC236}">
                  <a16:creationId xmlns:a16="http://schemas.microsoft.com/office/drawing/2014/main" id="{16046C3D-BDA2-407F-9D21-0C71B8D811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Oval 190">
              <a:extLst>
                <a:ext uri="{FF2B5EF4-FFF2-40B4-BE49-F238E27FC236}">
                  <a16:creationId xmlns:a16="http://schemas.microsoft.com/office/drawing/2014/main" id="{B6656BBE-79D5-43B3-B774-32F0167D37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Oval 191">
              <a:extLst>
                <a:ext uri="{FF2B5EF4-FFF2-40B4-BE49-F238E27FC236}">
                  <a16:creationId xmlns:a16="http://schemas.microsoft.com/office/drawing/2014/main" id="{DE15C148-FB38-479A-B28B-17CAF0CFF7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Oval 192">
              <a:extLst>
                <a:ext uri="{FF2B5EF4-FFF2-40B4-BE49-F238E27FC236}">
                  <a16:creationId xmlns:a16="http://schemas.microsoft.com/office/drawing/2014/main" id="{0F7AE0D1-27F3-4748-97CC-19373B69D83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Oval 193">
              <a:extLst>
                <a:ext uri="{FF2B5EF4-FFF2-40B4-BE49-F238E27FC236}">
                  <a16:creationId xmlns:a16="http://schemas.microsoft.com/office/drawing/2014/main" id="{1EF26F98-E8AF-4929-B486-45E8B764993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Oval 194">
              <a:extLst>
                <a:ext uri="{FF2B5EF4-FFF2-40B4-BE49-F238E27FC236}">
                  <a16:creationId xmlns:a16="http://schemas.microsoft.com/office/drawing/2014/main" id="{DA5FF39E-42B8-4DDB-BCEC-3924497D265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Oval 195">
              <a:extLst>
                <a:ext uri="{FF2B5EF4-FFF2-40B4-BE49-F238E27FC236}">
                  <a16:creationId xmlns:a16="http://schemas.microsoft.com/office/drawing/2014/main" id="{FF7FE80E-35A5-4522-9A46-4EAE562933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408463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196">
              <a:extLst>
                <a:ext uri="{FF2B5EF4-FFF2-40B4-BE49-F238E27FC236}">
                  <a16:creationId xmlns:a16="http://schemas.microsoft.com/office/drawing/2014/main" id="{7332D9A0-4383-4EB1-A199-A97E849FF5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408463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Oval 197">
              <a:extLst>
                <a:ext uri="{FF2B5EF4-FFF2-40B4-BE49-F238E27FC236}">
                  <a16:creationId xmlns:a16="http://schemas.microsoft.com/office/drawing/2014/main" id="{76F73CBA-FF52-4865-BDFF-DD0E14FF00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Oval 198">
              <a:extLst>
                <a:ext uri="{FF2B5EF4-FFF2-40B4-BE49-F238E27FC236}">
                  <a16:creationId xmlns:a16="http://schemas.microsoft.com/office/drawing/2014/main" id="{1D7DA15D-035D-48A6-B613-EB4D8735F53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9084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Oval 199">
              <a:extLst>
                <a:ext uri="{FF2B5EF4-FFF2-40B4-BE49-F238E27FC236}">
                  <a16:creationId xmlns:a16="http://schemas.microsoft.com/office/drawing/2014/main" id="{4DB386F7-8EA0-4AF1-9F8B-79C27529B8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Oval 200">
              <a:extLst>
                <a:ext uri="{FF2B5EF4-FFF2-40B4-BE49-F238E27FC236}">
                  <a16:creationId xmlns:a16="http://schemas.microsoft.com/office/drawing/2014/main" id="{9E753F4B-3010-40E5-B5AD-F1D89A9B338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Oval 201">
              <a:extLst>
                <a:ext uri="{FF2B5EF4-FFF2-40B4-BE49-F238E27FC236}">
                  <a16:creationId xmlns:a16="http://schemas.microsoft.com/office/drawing/2014/main" id="{7C160C26-7841-4290-B157-FEA49EFC224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Oval 202">
              <a:extLst>
                <a:ext uri="{FF2B5EF4-FFF2-40B4-BE49-F238E27FC236}">
                  <a16:creationId xmlns:a16="http://schemas.microsoft.com/office/drawing/2014/main" id="{560A6A67-1B0B-4EA2-A6C1-61175B2C53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Oval 203">
              <a:extLst>
                <a:ext uri="{FF2B5EF4-FFF2-40B4-BE49-F238E27FC236}">
                  <a16:creationId xmlns:a16="http://schemas.microsoft.com/office/drawing/2014/main" id="{489E1DC6-216E-49CD-94F7-C43A825258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Oval 204">
              <a:extLst>
                <a:ext uri="{FF2B5EF4-FFF2-40B4-BE49-F238E27FC236}">
                  <a16:creationId xmlns:a16="http://schemas.microsoft.com/office/drawing/2014/main" id="{AF8BE4C3-02C9-409C-B6C9-FD3B5E2859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Oval 205">
              <a:extLst>
                <a:ext uri="{FF2B5EF4-FFF2-40B4-BE49-F238E27FC236}">
                  <a16:creationId xmlns:a16="http://schemas.microsoft.com/office/drawing/2014/main" id="{C2217E3D-8415-42A8-A0CB-8C49E81DEE3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9084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Oval 206">
              <a:extLst>
                <a:ext uri="{FF2B5EF4-FFF2-40B4-BE49-F238E27FC236}">
                  <a16:creationId xmlns:a16="http://schemas.microsoft.com/office/drawing/2014/main" id="{2F1E6F41-53B6-4436-AC93-6C7C21ECA1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Oval 207">
              <a:extLst>
                <a:ext uri="{FF2B5EF4-FFF2-40B4-BE49-F238E27FC236}">
                  <a16:creationId xmlns:a16="http://schemas.microsoft.com/office/drawing/2014/main" id="{320B624E-C83D-4C68-A3D6-30B01DDEA3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9084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Oval 208">
              <a:extLst>
                <a:ext uri="{FF2B5EF4-FFF2-40B4-BE49-F238E27FC236}">
                  <a16:creationId xmlns:a16="http://schemas.microsoft.com/office/drawing/2014/main" id="{A66AF683-54CF-4079-B953-9026425E46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Oval 209">
              <a:extLst>
                <a:ext uri="{FF2B5EF4-FFF2-40B4-BE49-F238E27FC236}">
                  <a16:creationId xmlns:a16="http://schemas.microsoft.com/office/drawing/2014/main" id="{8F34EF1E-6CED-440F-BE4E-518F426B961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73380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Oval 210">
              <a:extLst>
                <a:ext uri="{FF2B5EF4-FFF2-40B4-BE49-F238E27FC236}">
                  <a16:creationId xmlns:a16="http://schemas.microsoft.com/office/drawing/2014/main" id="{4F5D246C-6053-449E-BA92-3D25AAE235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Oval 211">
              <a:extLst>
                <a:ext uri="{FF2B5EF4-FFF2-40B4-BE49-F238E27FC236}">
                  <a16:creationId xmlns:a16="http://schemas.microsoft.com/office/drawing/2014/main" id="{580F576A-055D-4E59-A7E0-2A89D262FF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Oval 212">
              <a:extLst>
                <a:ext uri="{FF2B5EF4-FFF2-40B4-BE49-F238E27FC236}">
                  <a16:creationId xmlns:a16="http://schemas.microsoft.com/office/drawing/2014/main" id="{90DCD64E-44D1-44E7-81A1-A846D14A70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Oval 213">
              <a:extLst>
                <a:ext uri="{FF2B5EF4-FFF2-40B4-BE49-F238E27FC236}">
                  <a16:creationId xmlns:a16="http://schemas.microsoft.com/office/drawing/2014/main" id="{2A290AFA-F4A0-4184-9CE3-0C02AD0FD9C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Oval 214">
              <a:extLst>
                <a:ext uri="{FF2B5EF4-FFF2-40B4-BE49-F238E27FC236}">
                  <a16:creationId xmlns:a16="http://schemas.microsoft.com/office/drawing/2014/main" id="{31486D10-EAE7-42B2-A950-F82A8FE868F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Oval 215">
              <a:extLst>
                <a:ext uri="{FF2B5EF4-FFF2-40B4-BE49-F238E27FC236}">
                  <a16:creationId xmlns:a16="http://schemas.microsoft.com/office/drawing/2014/main" id="{63675189-B14F-47EC-8EF4-6CF7E73E68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Oval 216">
              <a:extLst>
                <a:ext uri="{FF2B5EF4-FFF2-40B4-BE49-F238E27FC236}">
                  <a16:creationId xmlns:a16="http://schemas.microsoft.com/office/drawing/2014/main" id="{81859302-ACC9-4DD7-B3D6-E80CBAA4CA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73380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Oval 217">
              <a:extLst>
                <a:ext uri="{FF2B5EF4-FFF2-40B4-BE49-F238E27FC236}">
                  <a16:creationId xmlns:a16="http://schemas.microsoft.com/office/drawing/2014/main" id="{2BA29681-9EBE-43EA-8255-B7BB3FBFEF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Oval 218">
              <a:extLst>
                <a:ext uri="{FF2B5EF4-FFF2-40B4-BE49-F238E27FC236}">
                  <a16:creationId xmlns:a16="http://schemas.microsoft.com/office/drawing/2014/main" id="{45545A72-3CE0-43DE-A239-F2D9429C2EA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73380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Oval 219">
              <a:extLst>
                <a:ext uri="{FF2B5EF4-FFF2-40B4-BE49-F238E27FC236}">
                  <a16:creationId xmlns:a16="http://schemas.microsoft.com/office/drawing/2014/main" id="{44D5EA02-B783-4ECD-A272-832C3371A3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Oval 220">
              <a:extLst>
                <a:ext uri="{FF2B5EF4-FFF2-40B4-BE49-F238E27FC236}">
                  <a16:creationId xmlns:a16="http://schemas.microsoft.com/office/drawing/2014/main" id="{BCFEC7C0-5035-419C-941F-7B51F3C129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5575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Oval 221">
              <a:extLst>
                <a:ext uri="{FF2B5EF4-FFF2-40B4-BE49-F238E27FC236}">
                  <a16:creationId xmlns:a16="http://schemas.microsoft.com/office/drawing/2014/main" id="{07C1AA63-3623-4313-9CFD-8A9DB88452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Oval 222">
              <a:extLst>
                <a:ext uri="{FF2B5EF4-FFF2-40B4-BE49-F238E27FC236}">
                  <a16:creationId xmlns:a16="http://schemas.microsoft.com/office/drawing/2014/main" id="{F6D0B1C8-07A9-40D3-9ED8-F101D389CC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Oval 223">
              <a:extLst>
                <a:ext uri="{FF2B5EF4-FFF2-40B4-BE49-F238E27FC236}">
                  <a16:creationId xmlns:a16="http://schemas.microsoft.com/office/drawing/2014/main" id="{F75CFE96-F24D-4898-BB54-33A45D36D7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Oval 224">
              <a:extLst>
                <a:ext uri="{FF2B5EF4-FFF2-40B4-BE49-F238E27FC236}">
                  <a16:creationId xmlns:a16="http://schemas.microsoft.com/office/drawing/2014/main" id="{875B3193-2D6A-481F-80A2-7E815AD59F4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Oval 225">
              <a:extLst>
                <a:ext uri="{FF2B5EF4-FFF2-40B4-BE49-F238E27FC236}">
                  <a16:creationId xmlns:a16="http://schemas.microsoft.com/office/drawing/2014/main" id="{305E0F33-1791-49D1-8A78-386BE92C33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Oval 226">
              <a:extLst>
                <a:ext uri="{FF2B5EF4-FFF2-40B4-BE49-F238E27FC236}">
                  <a16:creationId xmlns:a16="http://schemas.microsoft.com/office/drawing/2014/main" id="{B51FDFB0-933B-454E-8720-10ACC59D2A9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Oval 227">
              <a:extLst>
                <a:ext uri="{FF2B5EF4-FFF2-40B4-BE49-F238E27FC236}">
                  <a16:creationId xmlns:a16="http://schemas.microsoft.com/office/drawing/2014/main" id="{5B7A0D25-B152-43E8-B833-45AA35A74A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5575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Oval 228">
              <a:extLst>
                <a:ext uri="{FF2B5EF4-FFF2-40B4-BE49-F238E27FC236}">
                  <a16:creationId xmlns:a16="http://schemas.microsoft.com/office/drawing/2014/main" id="{126919A2-E083-4DDA-9B26-A0BAEC6A99A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Oval 229">
              <a:extLst>
                <a:ext uri="{FF2B5EF4-FFF2-40B4-BE49-F238E27FC236}">
                  <a16:creationId xmlns:a16="http://schemas.microsoft.com/office/drawing/2014/main" id="{8F91D806-A283-4B70-8006-7901F02C0BB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5575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Oval 230">
              <a:extLst>
                <a:ext uri="{FF2B5EF4-FFF2-40B4-BE49-F238E27FC236}">
                  <a16:creationId xmlns:a16="http://schemas.microsoft.com/office/drawing/2014/main" id="{7A0DD8F8-6A93-4433-A7E4-C560E70D258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4382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Oval 231">
              <a:extLst>
                <a:ext uri="{FF2B5EF4-FFF2-40B4-BE49-F238E27FC236}">
                  <a16:creationId xmlns:a16="http://schemas.microsoft.com/office/drawing/2014/main" id="{11B6AC64-F34E-4D0F-AB61-7DF86963305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232">
              <a:extLst>
                <a:ext uri="{FF2B5EF4-FFF2-40B4-BE49-F238E27FC236}">
                  <a16:creationId xmlns:a16="http://schemas.microsoft.com/office/drawing/2014/main" id="{C286A159-A080-4F45-A4F6-4D201CAFDC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3829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Oval 233">
              <a:extLst>
                <a:ext uri="{FF2B5EF4-FFF2-40B4-BE49-F238E27FC236}">
                  <a16:creationId xmlns:a16="http://schemas.microsoft.com/office/drawing/2014/main" id="{B94BCEE6-77A1-4E86-AB89-8932BA909D7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Oval 234">
              <a:extLst>
                <a:ext uri="{FF2B5EF4-FFF2-40B4-BE49-F238E27FC236}">
                  <a16:creationId xmlns:a16="http://schemas.microsoft.com/office/drawing/2014/main" id="{F6D6A65C-32AA-48B0-A2F1-28C0FDC7E4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Oval 235">
              <a:extLst>
                <a:ext uri="{FF2B5EF4-FFF2-40B4-BE49-F238E27FC236}">
                  <a16:creationId xmlns:a16="http://schemas.microsoft.com/office/drawing/2014/main" id="{612F26D9-C1F8-4D1A-A9DD-ECBB0061CF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Oval 236">
              <a:extLst>
                <a:ext uri="{FF2B5EF4-FFF2-40B4-BE49-F238E27FC236}">
                  <a16:creationId xmlns:a16="http://schemas.microsoft.com/office/drawing/2014/main" id="{81EBED78-9DEA-4EF5-8F85-F7E4EB3C3B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237">
              <a:extLst>
                <a:ext uri="{FF2B5EF4-FFF2-40B4-BE49-F238E27FC236}">
                  <a16:creationId xmlns:a16="http://schemas.microsoft.com/office/drawing/2014/main" id="{2DB43DF6-5B02-4EF7-9F6F-E15C52E5E4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238">
              <a:extLst>
                <a:ext uri="{FF2B5EF4-FFF2-40B4-BE49-F238E27FC236}">
                  <a16:creationId xmlns:a16="http://schemas.microsoft.com/office/drawing/2014/main" id="{647C9EA1-F8EB-49CF-AD77-F9642B9CE54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239">
              <a:extLst>
                <a:ext uri="{FF2B5EF4-FFF2-40B4-BE49-F238E27FC236}">
                  <a16:creationId xmlns:a16="http://schemas.microsoft.com/office/drawing/2014/main" id="{601697F4-8165-4CBF-94C2-4F687C984C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38296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240">
              <a:extLst>
                <a:ext uri="{FF2B5EF4-FFF2-40B4-BE49-F238E27FC236}">
                  <a16:creationId xmlns:a16="http://schemas.microsoft.com/office/drawing/2014/main" id="{39D5F265-BEA7-4C14-B25D-18C72D6442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Oval 241">
              <a:extLst>
                <a:ext uri="{FF2B5EF4-FFF2-40B4-BE49-F238E27FC236}">
                  <a16:creationId xmlns:a16="http://schemas.microsoft.com/office/drawing/2014/main" id="{A2960190-DB91-440E-82AE-AAE793A4BFC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Oval 242">
              <a:extLst>
                <a:ext uri="{FF2B5EF4-FFF2-40B4-BE49-F238E27FC236}">
                  <a16:creationId xmlns:a16="http://schemas.microsoft.com/office/drawing/2014/main" id="{AE8F91E4-437C-454C-9F3F-B99A00F4B3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541712" y="338296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Oval 243">
              <a:extLst>
                <a:ext uri="{FF2B5EF4-FFF2-40B4-BE49-F238E27FC236}">
                  <a16:creationId xmlns:a16="http://schemas.microsoft.com/office/drawing/2014/main" id="{F6D9BF3F-7C43-4919-81C1-A3D6FD38B2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Oval 244">
              <a:extLst>
                <a:ext uri="{FF2B5EF4-FFF2-40B4-BE49-F238E27FC236}">
                  <a16:creationId xmlns:a16="http://schemas.microsoft.com/office/drawing/2014/main" id="{D7F6F938-7F03-4A16-8C4E-6172F093F0B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20675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Oval 245">
              <a:extLst>
                <a:ext uri="{FF2B5EF4-FFF2-40B4-BE49-F238E27FC236}">
                  <a16:creationId xmlns:a16="http://schemas.microsoft.com/office/drawing/2014/main" id="{5B52A311-6755-4D73-AA02-AEA8CB47AF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Oval 246">
              <a:extLst>
                <a:ext uri="{FF2B5EF4-FFF2-40B4-BE49-F238E27FC236}">
                  <a16:creationId xmlns:a16="http://schemas.microsoft.com/office/drawing/2014/main" id="{A5B610EF-6F29-4F11-871D-052B3CC3AD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Oval 247">
              <a:extLst>
                <a:ext uri="{FF2B5EF4-FFF2-40B4-BE49-F238E27FC236}">
                  <a16:creationId xmlns:a16="http://schemas.microsoft.com/office/drawing/2014/main" id="{19335D48-A688-463B-AE03-594CE3F0E2C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Oval 248">
              <a:extLst>
                <a:ext uri="{FF2B5EF4-FFF2-40B4-BE49-F238E27FC236}">
                  <a16:creationId xmlns:a16="http://schemas.microsoft.com/office/drawing/2014/main" id="{E6CCAD9D-07B9-4187-9D3B-58462F6F920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Oval 249">
              <a:extLst>
                <a:ext uri="{FF2B5EF4-FFF2-40B4-BE49-F238E27FC236}">
                  <a16:creationId xmlns:a16="http://schemas.microsoft.com/office/drawing/2014/main" id="{DCBF2BF8-2A8E-4E33-B5B4-2AD5BEDFA67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Oval 250">
              <a:extLst>
                <a:ext uri="{FF2B5EF4-FFF2-40B4-BE49-F238E27FC236}">
                  <a16:creationId xmlns:a16="http://schemas.microsoft.com/office/drawing/2014/main" id="{1761EDD8-61D0-4503-A74F-35BB3ACCC63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Oval 251">
              <a:extLst>
                <a:ext uri="{FF2B5EF4-FFF2-40B4-BE49-F238E27FC236}">
                  <a16:creationId xmlns:a16="http://schemas.microsoft.com/office/drawing/2014/main" id="{5E1F0C2A-BFA4-47DC-B4B3-3D1F86D7F2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206750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Oval 252">
              <a:extLst>
                <a:ext uri="{FF2B5EF4-FFF2-40B4-BE49-F238E27FC236}">
                  <a16:creationId xmlns:a16="http://schemas.microsoft.com/office/drawing/2014/main" id="{96F30E76-6097-4464-B4B4-37E4A6C3D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Oval 253">
              <a:extLst>
                <a:ext uri="{FF2B5EF4-FFF2-40B4-BE49-F238E27FC236}">
                  <a16:creationId xmlns:a16="http://schemas.microsoft.com/office/drawing/2014/main" id="{91B41488-6C1E-4F7A-84B7-7B0A718C25A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206750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Oval 254">
              <a:extLst>
                <a:ext uri="{FF2B5EF4-FFF2-40B4-BE49-F238E27FC236}">
                  <a16:creationId xmlns:a16="http://schemas.microsoft.com/office/drawing/2014/main" id="{671352EC-A462-4DC7-80CA-C4B5F6DF7BD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14487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Oval 255">
              <a:extLst>
                <a:ext uri="{FF2B5EF4-FFF2-40B4-BE49-F238E27FC236}">
                  <a16:creationId xmlns:a16="http://schemas.microsoft.com/office/drawing/2014/main" id="{12F4614A-CC24-44BA-A629-1F3016E9C43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30321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Oval 256">
              <a:extLst>
                <a:ext uri="{FF2B5EF4-FFF2-40B4-BE49-F238E27FC236}">
                  <a16:creationId xmlns:a16="http://schemas.microsoft.com/office/drawing/2014/main" id="{67B13552-B64C-41DE-B123-991230ACB9D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Oval 257">
              <a:extLst>
                <a:ext uri="{FF2B5EF4-FFF2-40B4-BE49-F238E27FC236}">
                  <a16:creationId xmlns:a16="http://schemas.microsoft.com/office/drawing/2014/main" id="{2B05486A-5C04-4530-BF39-B6BF301E049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Oval 258">
              <a:extLst>
                <a:ext uri="{FF2B5EF4-FFF2-40B4-BE49-F238E27FC236}">
                  <a16:creationId xmlns:a16="http://schemas.microsoft.com/office/drawing/2014/main" id="{D2826E24-7CDA-48F6-8AA1-3D78D01823B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Oval 259">
              <a:extLst>
                <a:ext uri="{FF2B5EF4-FFF2-40B4-BE49-F238E27FC236}">
                  <a16:creationId xmlns:a16="http://schemas.microsoft.com/office/drawing/2014/main" id="{3E5CD565-2DDB-45B1-BA5C-1F73491391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Oval 260">
              <a:extLst>
                <a:ext uri="{FF2B5EF4-FFF2-40B4-BE49-F238E27FC236}">
                  <a16:creationId xmlns:a16="http://schemas.microsoft.com/office/drawing/2014/main" id="{B0269DE8-E94F-4BCA-91A8-0449139A868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Oval 261">
              <a:extLst>
                <a:ext uri="{FF2B5EF4-FFF2-40B4-BE49-F238E27FC236}">
                  <a16:creationId xmlns:a16="http://schemas.microsoft.com/office/drawing/2014/main" id="{29C40F31-C667-4BB8-8F7E-69C4C9B9AC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Oval 262">
              <a:extLst>
                <a:ext uri="{FF2B5EF4-FFF2-40B4-BE49-F238E27FC236}">
                  <a16:creationId xmlns:a16="http://schemas.microsoft.com/office/drawing/2014/main" id="{BFC76A7D-312B-4A1E-AF69-F4F2244C63F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3032125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Oval 263">
              <a:extLst>
                <a:ext uri="{FF2B5EF4-FFF2-40B4-BE49-F238E27FC236}">
                  <a16:creationId xmlns:a16="http://schemas.microsoft.com/office/drawing/2014/main" id="{E808667A-A8A9-4F4B-BD05-53B07D6F16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264">
              <a:extLst>
                <a:ext uri="{FF2B5EF4-FFF2-40B4-BE49-F238E27FC236}">
                  <a16:creationId xmlns:a16="http://schemas.microsoft.com/office/drawing/2014/main" id="{C831BD1C-B832-4FA4-8789-75532C1B51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368675" y="303212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Oval 265">
              <a:extLst>
                <a:ext uri="{FF2B5EF4-FFF2-40B4-BE49-F238E27FC236}">
                  <a16:creationId xmlns:a16="http://schemas.microsoft.com/office/drawing/2014/main" id="{11C645E7-9FEF-4616-BEE7-415363F55F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789112" y="285591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Oval 266">
              <a:extLst>
                <a:ext uri="{FF2B5EF4-FFF2-40B4-BE49-F238E27FC236}">
                  <a16:creationId xmlns:a16="http://schemas.microsoft.com/office/drawing/2014/main" id="{44F54AF5-565A-40FC-9242-89FD017EAD1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267">
              <a:extLst>
                <a:ext uri="{FF2B5EF4-FFF2-40B4-BE49-F238E27FC236}">
                  <a16:creationId xmlns:a16="http://schemas.microsoft.com/office/drawing/2014/main" id="{FD646E48-1808-453B-8F82-33248A0078F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268">
              <a:extLst>
                <a:ext uri="{FF2B5EF4-FFF2-40B4-BE49-F238E27FC236}">
                  <a16:creationId xmlns:a16="http://schemas.microsoft.com/office/drawing/2014/main" id="{33DD62E7-A064-49C9-8C4E-48F4EC3C7F2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269">
              <a:extLst>
                <a:ext uri="{FF2B5EF4-FFF2-40B4-BE49-F238E27FC236}">
                  <a16:creationId xmlns:a16="http://schemas.microsoft.com/office/drawing/2014/main" id="{94A7B140-11EE-4A8E-8395-0BF3817E985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270">
              <a:extLst>
                <a:ext uri="{FF2B5EF4-FFF2-40B4-BE49-F238E27FC236}">
                  <a16:creationId xmlns:a16="http://schemas.microsoft.com/office/drawing/2014/main" id="{41160ABE-239C-49C4-87E5-FC34CEFDEDE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271">
              <a:extLst>
                <a:ext uri="{FF2B5EF4-FFF2-40B4-BE49-F238E27FC236}">
                  <a16:creationId xmlns:a16="http://schemas.microsoft.com/office/drawing/2014/main" id="{21DA8D13-6FA8-40FC-AE3C-AB3DA8F8B44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272">
              <a:extLst>
                <a:ext uri="{FF2B5EF4-FFF2-40B4-BE49-F238E27FC236}">
                  <a16:creationId xmlns:a16="http://schemas.microsoft.com/office/drawing/2014/main" id="{5124F63E-1C2B-418E-9942-1D9ADB9BBB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2855913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273">
              <a:extLst>
                <a:ext uri="{FF2B5EF4-FFF2-40B4-BE49-F238E27FC236}">
                  <a16:creationId xmlns:a16="http://schemas.microsoft.com/office/drawing/2014/main" id="{E9D416EF-76F1-48E0-9584-006A3CFB97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92462" y="2855913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274">
              <a:extLst>
                <a:ext uri="{FF2B5EF4-FFF2-40B4-BE49-F238E27FC236}">
                  <a16:creationId xmlns:a16="http://schemas.microsoft.com/office/drawing/2014/main" id="{FE8650F7-D83F-49A8-AF36-13F8E2FF8B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6532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275">
              <a:extLst>
                <a:ext uri="{FF2B5EF4-FFF2-40B4-BE49-F238E27FC236}">
                  <a16:creationId xmlns:a16="http://schemas.microsoft.com/office/drawing/2014/main" id="{90484E58-4228-49EF-8A8B-2DED41F045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139950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276">
              <a:extLst>
                <a:ext uri="{FF2B5EF4-FFF2-40B4-BE49-F238E27FC236}">
                  <a16:creationId xmlns:a16="http://schemas.microsoft.com/office/drawing/2014/main" id="{31F22CE6-B5FD-4727-8A56-DD1111CF828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277">
              <a:extLst>
                <a:ext uri="{FF2B5EF4-FFF2-40B4-BE49-F238E27FC236}">
                  <a16:creationId xmlns:a16="http://schemas.microsoft.com/office/drawing/2014/main" id="{8D4495B9-A154-47D3-8707-0F3F4E30814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278">
              <a:extLst>
                <a:ext uri="{FF2B5EF4-FFF2-40B4-BE49-F238E27FC236}">
                  <a16:creationId xmlns:a16="http://schemas.microsoft.com/office/drawing/2014/main" id="{51C074C1-F16C-4CE5-A1B4-FF5596B241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279">
              <a:extLst>
                <a:ext uri="{FF2B5EF4-FFF2-40B4-BE49-F238E27FC236}">
                  <a16:creationId xmlns:a16="http://schemas.microsoft.com/office/drawing/2014/main" id="{4A5C7B95-89F5-42C2-9AAB-4C5597E2AF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841625" y="2681288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Oval 280">
              <a:extLst>
                <a:ext uri="{FF2B5EF4-FFF2-40B4-BE49-F238E27FC236}">
                  <a16:creationId xmlns:a16="http://schemas.microsoft.com/office/drawing/2014/main" id="{36056293-9FFE-4F3A-B795-D38C421F50E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016250" y="2681288"/>
              <a:ext cx="104775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Oval 281">
              <a:extLst>
                <a:ext uri="{FF2B5EF4-FFF2-40B4-BE49-F238E27FC236}">
                  <a16:creationId xmlns:a16="http://schemas.microsoft.com/office/drawing/2014/main" id="{E4C43B1D-BFDD-4347-BAA5-187FACE55B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314575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Oval 282">
              <a:extLst>
                <a:ext uri="{FF2B5EF4-FFF2-40B4-BE49-F238E27FC236}">
                  <a16:creationId xmlns:a16="http://schemas.microsoft.com/office/drawing/2014/main" id="{2F8F2053-AB80-49E8-8708-61F7B553497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490787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Oval 283">
              <a:extLst>
                <a:ext uri="{FF2B5EF4-FFF2-40B4-BE49-F238E27FC236}">
                  <a16:creationId xmlns:a16="http://schemas.microsoft.com/office/drawing/2014/main" id="{E728F5ED-E946-4E33-A75D-E4CF39BC67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65412" y="2505075"/>
              <a:ext cx="103188" cy="1031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B57A19-3695-4034-88FB-A437C0DD9C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098" y="1692486"/>
            <a:ext cx="6116050" cy="3666718"/>
          </a:xfrm>
          <a:prstGeom prst="rect">
            <a:avLst/>
          </a:prstGeom>
        </p:spPr>
      </p:pic>
      <p:sp>
        <p:nvSpPr>
          <p:cNvPr id="7" name="Picture Placeholder 12">
            <a:extLst>
              <a:ext uri="{FF2B5EF4-FFF2-40B4-BE49-F238E27FC236}">
                <a16:creationId xmlns:a16="http://schemas.microsoft.com/office/drawing/2014/main" id="{CB4A48A3-823A-4361-823E-486FC533C58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589649" y="1936888"/>
            <a:ext cx="4714898" cy="2972738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16" name="Text Placeholder 11">
            <a:extLst>
              <a:ext uri="{FF2B5EF4-FFF2-40B4-BE49-F238E27FC236}">
                <a16:creationId xmlns:a16="http://schemas.microsoft.com/office/drawing/2014/main" id="{596B2C8D-39BC-45CB-9CF9-D96424DF58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82497" y="1562860"/>
            <a:ext cx="4031988" cy="577877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7" name="Text Placeholder 11">
            <a:extLst>
              <a:ext uri="{FF2B5EF4-FFF2-40B4-BE49-F238E27FC236}">
                <a16:creationId xmlns:a16="http://schemas.microsoft.com/office/drawing/2014/main" id="{36F10DEF-50A6-4F83-BA7D-913303A79DB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567097" y="2570255"/>
            <a:ext cx="4047386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8" name="Text Placeholder 11">
            <a:extLst>
              <a:ext uri="{FF2B5EF4-FFF2-40B4-BE49-F238E27FC236}">
                <a16:creationId xmlns:a16="http://schemas.microsoft.com/office/drawing/2014/main" id="{0E7C7319-DD16-4A4C-AE35-21CCFA8F6B9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567097" y="2918638"/>
            <a:ext cx="4047388" cy="947509"/>
          </a:xfrm>
        </p:spPr>
        <p:txBody>
          <a:bodyPr>
            <a:normAutofit/>
          </a:bodyPr>
          <a:lstStyle>
            <a:lvl1pPr marL="171450" indent="-171450" algn="just">
              <a:lnSpc>
                <a:spcPct val="150000"/>
              </a:lnSpc>
              <a:buClr>
                <a:schemeClr val="bg1"/>
              </a:buClr>
              <a:buFont typeface="Courier New" panose="02070309020205020404" pitchFamily="49" charset="0"/>
              <a:buChar char="o"/>
              <a:defRPr sz="1000">
                <a:solidFill>
                  <a:schemeClr val="accent6">
                    <a:lumMod val="90000"/>
                    <a:lumOff val="1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1" name="Text Placeholder 11">
            <a:extLst>
              <a:ext uri="{FF2B5EF4-FFF2-40B4-BE49-F238E27FC236}">
                <a16:creationId xmlns:a16="http://schemas.microsoft.com/office/drawing/2014/main" id="{45C9C447-9B87-4609-A499-31BCDC26E07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567095" y="4127863"/>
            <a:ext cx="4047386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2" name="Text Placeholder 11">
            <a:extLst>
              <a:ext uri="{FF2B5EF4-FFF2-40B4-BE49-F238E27FC236}">
                <a16:creationId xmlns:a16="http://schemas.microsoft.com/office/drawing/2014/main" id="{C0AEA1BA-BB77-42B8-B959-7EC36839E7E0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67095" y="4476246"/>
            <a:ext cx="4047388" cy="947509"/>
          </a:xfrm>
        </p:spPr>
        <p:txBody>
          <a:bodyPr>
            <a:normAutofit/>
          </a:bodyPr>
          <a:lstStyle>
            <a:lvl1pPr marL="171450" indent="-171450" algn="just">
              <a:lnSpc>
                <a:spcPct val="150000"/>
              </a:lnSpc>
              <a:buClr>
                <a:schemeClr val="bg1"/>
              </a:buClr>
              <a:buFont typeface="Courier New" panose="02070309020205020404" pitchFamily="49" charset="0"/>
              <a:buChar char="o"/>
              <a:defRPr sz="1000">
                <a:solidFill>
                  <a:schemeClr val="accent6">
                    <a:lumMod val="90000"/>
                    <a:lumOff val="1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7014876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D801B9F-45FC-4639-8175-EDBAC3467F75}"/>
              </a:ext>
            </a:extLst>
          </p:cNvPr>
          <p:cNvSpPr/>
          <p:nvPr userDrawn="1"/>
        </p:nvSpPr>
        <p:spPr>
          <a:xfrm>
            <a:off x="2413457" y="2478497"/>
            <a:ext cx="2442916" cy="3655096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F70F326A-182F-4180-A6F8-DF6876F9C7A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608221" y="3532198"/>
            <a:ext cx="1828800" cy="410154"/>
          </a:xfrm>
        </p:spPr>
        <p:txBody>
          <a:bodyPr>
            <a:noAutofit/>
          </a:bodyPr>
          <a:lstStyle>
            <a:lvl1pPr marL="0" indent="0" algn="ctr">
              <a:buNone/>
              <a:defRPr sz="2800" b="1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F0E137A1-1200-4B73-9013-DFAF838B383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608221" y="3131578"/>
            <a:ext cx="1828800" cy="297425"/>
          </a:xfrm>
        </p:spPr>
        <p:txBody>
          <a:bodyPr>
            <a:noAutofit/>
          </a:bodyPr>
          <a:lstStyle>
            <a:lvl1pPr marL="0" indent="0" algn="ctr">
              <a:buNone/>
              <a:defRPr sz="1600" b="0" u="none" spc="300">
                <a:solidFill>
                  <a:schemeClr val="tx2">
                    <a:lumMod val="5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5B0860D6-95E2-4725-A0BB-82E8764DDAD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08221" y="4199009"/>
            <a:ext cx="1828800" cy="1420150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58BD563-C8AE-4F13-987C-7169C3C08432}"/>
              </a:ext>
            </a:extLst>
          </p:cNvPr>
          <p:cNvSpPr/>
          <p:nvPr userDrawn="1"/>
        </p:nvSpPr>
        <p:spPr>
          <a:xfrm>
            <a:off x="7335627" y="2470485"/>
            <a:ext cx="2442916" cy="3655096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074CB432-9DE5-4891-889E-288FBAB45B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20799" y="584466"/>
            <a:ext cx="5457654" cy="506942"/>
          </a:xfrm>
        </p:spPr>
        <p:txBody>
          <a:bodyPr>
            <a:normAutofit/>
          </a:bodyPr>
          <a:lstStyle>
            <a:lvl1pPr marL="0" indent="0" algn="ctr">
              <a:buNone/>
              <a:defRPr sz="2800" u="none" spc="0">
                <a:solidFill>
                  <a:schemeClr val="bg2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BAF2D4F6-9BD8-4588-A2B3-22740E478E0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39626" y="1126262"/>
            <a:ext cx="5435406" cy="750664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8EE7055-F54C-48BE-A77D-E8E26CB9F1BA}"/>
              </a:ext>
            </a:extLst>
          </p:cNvPr>
          <p:cNvSpPr/>
          <p:nvPr userDrawn="1"/>
        </p:nvSpPr>
        <p:spPr>
          <a:xfrm>
            <a:off x="4708358" y="2229853"/>
            <a:ext cx="2775284" cy="415238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5131345B-FFD2-4CDC-9F51-384CBC4429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1600" y="3399855"/>
            <a:ext cx="1828800" cy="506942"/>
          </a:xfrm>
        </p:spPr>
        <p:txBody>
          <a:bodyPr>
            <a:noAutofit/>
          </a:bodyPr>
          <a:lstStyle>
            <a:lvl1pPr marL="0" indent="0" algn="ctr">
              <a:buNone/>
              <a:defRPr sz="3600" b="1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AF9E3694-AA35-471F-8945-DC42F60544B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81600" y="2807367"/>
            <a:ext cx="1828800" cy="409083"/>
          </a:xfrm>
        </p:spPr>
        <p:txBody>
          <a:bodyPr>
            <a:noAutofit/>
          </a:bodyPr>
          <a:lstStyle>
            <a:lvl1pPr marL="0" indent="0" algn="ctr">
              <a:buNone/>
              <a:defRPr sz="2000" b="0" u="none" spc="3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0EC3E30-AE9A-448F-9F3B-F886C942071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81600" y="4290839"/>
            <a:ext cx="1828800" cy="1420150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2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279E6D68-8373-4DAE-B9FE-F0F066212C0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74769" y="3524186"/>
            <a:ext cx="1828800" cy="410154"/>
          </a:xfrm>
        </p:spPr>
        <p:txBody>
          <a:bodyPr>
            <a:noAutofit/>
          </a:bodyPr>
          <a:lstStyle>
            <a:lvl1pPr marL="0" indent="0" algn="ctr">
              <a:buNone/>
              <a:defRPr sz="2800" b="1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CA0E9C05-2A2B-46DE-AD17-F08E8799168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74769" y="3123566"/>
            <a:ext cx="1828800" cy="297425"/>
          </a:xfrm>
        </p:spPr>
        <p:txBody>
          <a:bodyPr>
            <a:noAutofit/>
          </a:bodyPr>
          <a:lstStyle>
            <a:lvl1pPr marL="0" indent="0" algn="ctr">
              <a:buNone/>
              <a:defRPr sz="1600" b="0" u="none" spc="300">
                <a:solidFill>
                  <a:schemeClr val="tx2">
                    <a:lumMod val="5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53482FE0-BB68-4CD1-8812-E358AC3DACB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674769" y="4190997"/>
            <a:ext cx="1828800" cy="1420150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53067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indow dir="vert"/>
      </p:transition>
    </mc:Choice>
    <mc:Fallback xmlns="">
      <p:transition spd="slow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6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8B4253B-7563-42FC-A7B3-1BD6A2E146EB}"/>
              </a:ext>
            </a:extLst>
          </p:cNvPr>
          <p:cNvSpPr/>
          <p:nvPr userDrawn="1"/>
        </p:nvSpPr>
        <p:spPr>
          <a:xfrm>
            <a:off x="6063916" y="2149642"/>
            <a:ext cx="5550568" cy="407469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5A9BEC8-9BF5-4980-8D1C-713A460C4E9A}"/>
              </a:ext>
            </a:extLst>
          </p:cNvPr>
          <p:cNvSpPr/>
          <p:nvPr userDrawn="1"/>
        </p:nvSpPr>
        <p:spPr>
          <a:xfrm>
            <a:off x="617620" y="2149642"/>
            <a:ext cx="5446296" cy="4074696"/>
          </a:xfrm>
          <a:prstGeom prst="rect">
            <a:avLst/>
          </a:prstGeom>
          <a:solidFill>
            <a:schemeClr val="bg1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CF70ABD-D7F6-4FD4-867D-C791A7FF0B3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20799" y="584466"/>
            <a:ext cx="5457654" cy="506942"/>
          </a:xfrm>
        </p:spPr>
        <p:txBody>
          <a:bodyPr>
            <a:normAutofit/>
          </a:bodyPr>
          <a:lstStyle>
            <a:lvl1pPr marL="0" indent="0" algn="ctr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6AB4AF0F-B555-4E44-894C-930FBD705D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39626" y="1126262"/>
            <a:ext cx="5435406" cy="750664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D6843B52-2321-4847-A2CC-B957F775DF8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10400" y="3524186"/>
            <a:ext cx="3860800" cy="410154"/>
          </a:xfrm>
        </p:spPr>
        <p:txBody>
          <a:bodyPr>
            <a:noAutofit/>
          </a:bodyPr>
          <a:lstStyle>
            <a:lvl1pPr marL="0" indent="0" algn="l">
              <a:buNone/>
              <a:defRPr sz="2800" b="1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A441596-D07F-4EB6-8556-1BF2D800555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10400" y="3123566"/>
            <a:ext cx="3860800" cy="297425"/>
          </a:xfrm>
        </p:spPr>
        <p:txBody>
          <a:bodyPr>
            <a:noAutofit/>
          </a:bodyPr>
          <a:lstStyle>
            <a:lvl1pPr marL="0" indent="0" algn="l">
              <a:buNone/>
              <a:defRPr sz="1600" b="0" u="none" spc="300">
                <a:solidFill>
                  <a:schemeClr val="bg1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C8AD403-B7C4-41B9-868E-4B338A759A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10400" y="4037535"/>
            <a:ext cx="3860800" cy="68686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8A9A539F-D3C4-415D-A86F-60F98122EB1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010400" y="4749800"/>
            <a:ext cx="1866900" cy="1058234"/>
          </a:xfrm>
        </p:spPr>
        <p:txBody>
          <a:bodyPr>
            <a:normAutofit/>
          </a:bodyPr>
          <a:lstStyle>
            <a:lvl1pPr marL="171450" indent="-171450" algn="l">
              <a:lnSpc>
                <a:spcPct val="150000"/>
              </a:lnSpc>
              <a:buFont typeface="Wingdings" panose="05000000000000000000" pitchFamily="2" charset="2"/>
              <a:buChar char="ü"/>
              <a:defRPr sz="10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6F994C71-BFFB-462D-B0D1-770B6B4BB5A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04300" y="4749800"/>
            <a:ext cx="1866900" cy="1058234"/>
          </a:xfrm>
        </p:spPr>
        <p:txBody>
          <a:bodyPr>
            <a:normAutofit/>
          </a:bodyPr>
          <a:lstStyle>
            <a:lvl1pPr marL="171450" indent="-171450" algn="l">
              <a:lnSpc>
                <a:spcPct val="150000"/>
              </a:lnSpc>
              <a:buFont typeface="Wingdings" panose="05000000000000000000" pitchFamily="2" charset="2"/>
              <a:buChar char="ü"/>
              <a:defRPr sz="1000">
                <a:solidFill>
                  <a:schemeClr val="bg1"/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494510D8-CC9C-485A-9958-209A6B67C17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20132" y="3524186"/>
            <a:ext cx="3860800" cy="410154"/>
          </a:xfrm>
        </p:spPr>
        <p:txBody>
          <a:bodyPr>
            <a:noAutofit/>
          </a:bodyPr>
          <a:lstStyle>
            <a:lvl1pPr marL="0" indent="0" algn="l">
              <a:buNone/>
              <a:defRPr sz="2800" b="1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E2AB02F1-40DA-49D6-8DCA-9204477C23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20132" y="3123566"/>
            <a:ext cx="3860800" cy="297425"/>
          </a:xfrm>
        </p:spPr>
        <p:txBody>
          <a:bodyPr>
            <a:noAutofit/>
          </a:bodyPr>
          <a:lstStyle>
            <a:lvl1pPr marL="0" indent="0" algn="l">
              <a:buNone/>
              <a:defRPr sz="1600" b="0" u="none" spc="300">
                <a:solidFill>
                  <a:schemeClr val="tx2">
                    <a:lumMod val="5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9DA4038B-D32E-4573-8972-B21DB375FAE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320132" y="4037535"/>
            <a:ext cx="3860800" cy="686865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AB7C754A-1F42-4860-95CD-DA96CF9408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320132" y="4749800"/>
            <a:ext cx="1866900" cy="1058234"/>
          </a:xfrm>
        </p:spPr>
        <p:txBody>
          <a:bodyPr>
            <a:normAutofit/>
          </a:bodyPr>
          <a:lstStyle>
            <a:lvl1pPr marL="171450" indent="-171450" algn="l">
              <a:lnSpc>
                <a:spcPct val="150000"/>
              </a:lnSpc>
              <a:buFont typeface="Wingdings" panose="05000000000000000000" pitchFamily="2" charset="2"/>
              <a:buChar char="ü"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E736341E-A6E0-4601-AE5D-47793D7FDB4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314032" y="4749800"/>
            <a:ext cx="1866900" cy="1058234"/>
          </a:xfrm>
        </p:spPr>
        <p:txBody>
          <a:bodyPr>
            <a:normAutofit/>
          </a:bodyPr>
          <a:lstStyle>
            <a:lvl1pPr marL="171450" indent="-171450" algn="l">
              <a:lnSpc>
                <a:spcPct val="150000"/>
              </a:lnSpc>
              <a:buFont typeface="Wingdings" panose="05000000000000000000" pitchFamily="2" charset="2"/>
              <a:buChar char="ü"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43040105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2152DAF9-C1F7-43BC-A77F-A91160AFBA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20799" y="584466"/>
            <a:ext cx="5457654" cy="506942"/>
          </a:xfrm>
        </p:spPr>
        <p:txBody>
          <a:bodyPr>
            <a:normAutofit/>
          </a:bodyPr>
          <a:lstStyle>
            <a:lvl1pPr marL="0" indent="0" algn="ctr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1D5B55A1-6C6E-4B90-924A-DFAF50BB06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39626" y="1126262"/>
            <a:ext cx="5435406" cy="750664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27972118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6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2152DAF9-C1F7-43BC-A77F-A91160AFBA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20799" y="584466"/>
            <a:ext cx="5457654" cy="506942"/>
          </a:xfrm>
        </p:spPr>
        <p:txBody>
          <a:bodyPr>
            <a:normAutofit/>
          </a:bodyPr>
          <a:lstStyle>
            <a:lvl1pPr marL="0" indent="0" algn="ctr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1D5B55A1-6C6E-4B90-924A-DFAF50BB06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39626" y="1126262"/>
            <a:ext cx="5435406" cy="750664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5C750B2-DC6D-441F-BB1A-5917CEDDA47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20799" y="2654709"/>
            <a:ext cx="955364" cy="955364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6BF58E11-491A-4CD8-99DE-16B817485C7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078644" y="2601448"/>
            <a:ext cx="955364" cy="955364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28DEF4D6-B1C1-47D9-829F-1046D218B8AE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1504950" y="2316163"/>
            <a:ext cx="8637588" cy="352425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92226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2152DAF9-C1F7-43BC-A77F-A91160AFBA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20799" y="584466"/>
            <a:ext cx="5457654" cy="506942"/>
          </a:xfrm>
        </p:spPr>
        <p:txBody>
          <a:bodyPr>
            <a:normAutofit/>
          </a:bodyPr>
          <a:lstStyle>
            <a:lvl1pPr marL="0" indent="0" algn="ctr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1D5B55A1-6C6E-4B90-924A-DFAF50BB06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39626" y="1126262"/>
            <a:ext cx="5435406" cy="750664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1D15A98-0230-458F-9249-939A6800BFD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005651" y="2890891"/>
            <a:ext cx="2193816" cy="2193816"/>
          </a:xfrm>
          <a:prstGeom prst="ellipse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8B9957E6-7FFA-4064-AD2A-1B9981C4285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77012" y="2653825"/>
            <a:ext cx="4165793" cy="1028383"/>
          </a:xfrm>
        </p:spPr>
        <p:txBody>
          <a:bodyPr>
            <a:normAutofit/>
          </a:bodyPr>
          <a:lstStyle>
            <a:lvl1pPr marL="0" indent="0" algn="l">
              <a:buNone/>
              <a:defRPr sz="2400" b="1" u="sng" spc="0">
                <a:solidFill>
                  <a:srgbClr val="474747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EA0AE086-E2D7-418F-930A-448BD5AF72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77012" y="3725332"/>
            <a:ext cx="4166200" cy="1878840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292987532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AA8585AA-858C-4743-B450-25BBF470A8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15320" y="1792720"/>
            <a:ext cx="5177417" cy="781286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A83EB5E3-D7ED-43E9-B5FD-F129C3B469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29138" y="2574006"/>
            <a:ext cx="5161971" cy="1248168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B839388-F910-4453-B4C5-0685BC77719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449016" y="4078718"/>
            <a:ext cx="2383103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39D7DD87-4E9C-4CE6-AB0D-C436B68B3A8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449016" y="4378975"/>
            <a:ext cx="2383104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7FE43B84-2AAB-49BF-AA98-4C9B5FBCA5E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208006" y="4078718"/>
            <a:ext cx="2383103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355EE7D-683C-493D-814B-21EC86617AB0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208006" y="4378975"/>
            <a:ext cx="2383104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41299775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AA8585AA-858C-4743-B450-25BBF470A8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78387" y="1171419"/>
            <a:ext cx="4512226" cy="781286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effectLst/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A83EB5E3-D7ED-43E9-B5FD-F129C3B469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92205" y="1952705"/>
            <a:ext cx="4498764" cy="1248168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B839388-F910-4453-B4C5-0685BC77719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2082" y="3457417"/>
            <a:ext cx="4475656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39D7DD87-4E9C-4CE6-AB0D-C436B68B3A8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112082" y="3757674"/>
            <a:ext cx="4475658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7FE43B84-2AAB-49BF-AA98-4C9B5FBCA5E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112082" y="4700019"/>
            <a:ext cx="4475656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355EE7D-683C-493D-814B-21EC86617AB0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112082" y="5000276"/>
            <a:ext cx="4475658" cy="660709"/>
          </a:xfrm>
        </p:spPr>
        <p:txBody>
          <a:bodyPr>
            <a:normAutofit/>
          </a:bodyPr>
          <a:lstStyle>
            <a:lvl1pPr marL="0" indent="0" algn="just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21B7C52C-83D5-4224-A406-7179585A3BAB}"/>
              </a:ext>
            </a:extLst>
          </p:cNvPr>
          <p:cNvSpPr>
            <a:spLocks noGrp="1"/>
          </p:cNvSpPr>
          <p:nvPr>
            <p:ph type="chart" sz="quarter" idx="58"/>
          </p:nvPr>
        </p:nvSpPr>
        <p:spPr>
          <a:xfrm>
            <a:off x="833438" y="1171575"/>
            <a:ext cx="5262562" cy="4489450"/>
          </a:xfrm>
          <a:pattFill prst="pct5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70674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B839388-F910-4453-B4C5-0685BC77719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454279" y="4158929"/>
            <a:ext cx="2383103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39D7DD87-4E9C-4CE6-AB0D-C436B68B3A8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454279" y="4459186"/>
            <a:ext cx="2383104" cy="660709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7FE43B84-2AAB-49BF-AA98-4C9B5FBCA5E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454279" y="2857615"/>
            <a:ext cx="2383103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1355EE7D-683C-493D-814B-21EC86617AB0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454279" y="3157872"/>
            <a:ext cx="2383104" cy="660709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3BD0963-B92A-4E03-84D8-43C8782EB6F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320799" y="584466"/>
            <a:ext cx="5457654" cy="506942"/>
          </a:xfrm>
        </p:spPr>
        <p:txBody>
          <a:bodyPr>
            <a:normAutofit/>
          </a:bodyPr>
          <a:lstStyle>
            <a:lvl1pPr marL="0" indent="0" algn="ctr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D2E7BFF-8C26-4B39-BECC-E460C51413E8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339626" y="1126262"/>
            <a:ext cx="5435406" cy="750664"/>
          </a:xfrm>
        </p:spPr>
        <p:txBody>
          <a:bodyPr>
            <a:normAutofit/>
          </a:bodyPr>
          <a:lstStyle>
            <a:lvl1pPr marL="0" indent="0" algn="ctr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6FDA2A2-2913-42DE-AADC-F03D80AD186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304666" y="4184021"/>
            <a:ext cx="2383103" cy="275165"/>
          </a:xfrm>
        </p:spPr>
        <p:txBody>
          <a:bodyPr>
            <a:normAutofit/>
          </a:bodyPr>
          <a:lstStyle>
            <a:lvl1pPr marL="0" indent="0" algn="r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F00BCDC1-3BB7-41FB-9B88-DD2D545DC41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1304666" y="4484278"/>
            <a:ext cx="2383104" cy="660709"/>
          </a:xfrm>
        </p:spPr>
        <p:txBody>
          <a:bodyPr>
            <a:normAutofit/>
          </a:bodyPr>
          <a:lstStyle>
            <a:lvl1pPr marL="0" indent="0" algn="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AA0524BD-FA8D-425B-9390-0B77055CB90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1304666" y="2882707"/>
            <a:ext cx="2383103" cy="275165"/>
          </a:xfrm>
        </p:spPr>
        <p:txBody>
          <a:bodyPr>
            <a:normAutofit/>
          </a:bodyPr>
          <a:lstStyle>
            <a:lvl1pPr marL="0" indent="0" algn="r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0127B133-CA12-497E-9EC2-634B2537FEC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304666" y="3182964"/>
            <a:ext cx="2383104" cy="660709"/>
          </a:xfrm>
        </p:spPr>
        <p:txBody>
          <a:bodyPr>
            <a:normAutofit/>
          </a:bodyPr>
          <a:lstStyle>
            <a:lvl1pPr marL="0" indent="0" algn="r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A7424BE5-273C-42B9-9859-F3C4C659ACDA}"/>
              </a:ext>
            </a:extLst>
          </p:cNvPr>
          <p:cNvSpPr>
            <a:spLocks noGrp="1"/>
          </p:cNvSpPr>
          <p:nvPr>
            <p:ph type="chart" sz="quarter" idx="64"/>
          </p:nvPr>
        </p:nvSpPr>
        <p:spPr>
          <a:xfrm>
            <a:off x="4495800" y="2558800"/>
            <a:ext cx="3200400" cy="32004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83978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4F01EE-243F-429C-AD47-DD56CC733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142806" y="102703"/>
            <a:ext cx="1934894" cy="347464"/>
          </a:xfrm>
        </p:spPr>
        <p:txBody>
          <a:bodyPr/>
          <a:lstStyle>
            <a:lvl1pPr algn="r">
              <a:defRPr spc="300">
                <a:latin typeface="Muli" panose="02000503000000000000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CDA01-310F-40D2-A3BA-259AF8FE1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4500" y="6382238"/>
            <a:ext cx="2743200" cy="365125"/>
          </a:xfrm>
        </p:spPr>
        <p:txBody>
          <a:bodyPr/>
          <a:lstStyle>
            <a:lvl1pPr>
              <a:defRPr>
                <a:latin typeface="Muli" panose="02000503000000000000" pitchFamily="2" charset="0"/>
              </a:defRPr>
            </a:lvl1pPr>
          </a:lstStyle>
          <a:p>
            <a:r>
              <a:rPr lang="en-US" dirty="0"/>
              <a:t>page </a:t>
            </a:r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2411795-FC30-41DD-8274-246D450E37E4}"/>
              </a:ext>
            </a:extLst>
          </p:cNvPr>
          <p:cNvSpPr/>
          <p:nvPr userDrawn="1"/>
        </p:nvSpPr>
        <p:spPr>
          <a:xfrm>
            <a:off x="2894993" y="-285051"/>
            <a:ext cx="7355912" cy="735591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92D050"/>
              </a:solidFill>
            </a:endParaRP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69316344-7817-4BFF-BEFF-3A9CFF3A545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334500" y="2805759"/>
            <a:ext cx="2383103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123BC92-863D-4F95-9CC5-DB6D6E621C8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334500" y="3106016"/>
            <a:ext cx="2383104" cy="660709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43B13E38-D940-47A5-899E-E1EAEE43E46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334500" y="1504445"/>
            <a:ext cx="2383103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60509A51-BD27-4DC8-9412-629330F4DB0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334500" y="1804702"/>
            <a:ext cx="2383104" cy="660709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FE82C025-1CCD-439D-9F7E-6434425C30C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77600" y="2329490"/>
            <a:ext cx="3578682" cy="803290"/>
          </a:xfrm>
        </p:spPr>
        <p:txBody>
          <a:bodyPr>
            <a:normAutofit/>
          </a:bodyPr>
          <a:lstStyle>
            <a:lvl1pPr marL="0" indent="0" algn="l">
              <a:buNone/>
              <a:defRPr sz="2800" u="none" spc="0">
                <a:solidFill>
                  <a:schemeClr val="accent6">
                    <a:lumMod val="90000"/>
                    <a:lumOff val="10000"/>
                  </a:schemeClr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49193C1-B280-4ABA-8340-6491AFF6C6F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96426" y="3268513"/>
            <a:ext cx="3564094" cy="2302610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2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B91EF149-9F75-43B3-BDC5-80D86EECB03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334500" y="4091828"/>
            <a:ext cx="2383103" cy="275165"/>
          </a:xfrm>
        </p:spPr>
        <p:txBody>
          <a:bodyPr>
            <a:normAutofit/>
          </a:bodyPr>
          <a:lstStyle>
            <a:lvl1pPr marL="0" indent="0" algn="l">
              <a:buNone/>
              <a:defRPr sz="1400" u="sng">
                <a:solidFill>
                  <a:srgbClr val="242424"/>
                </a:solidFill>
                <a:latin typeface="Muli" panose="02000503000000000000" pitchFamily="2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4A1918B5-E9A3-43ED-BB69-7B3F5316CA8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334500" y="4392085"/>
            <a:ext cx="2383104" cy="660709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000">
                <a:solidFill>
                  <a:schemeClr val="tx2">
                    <a:lumMod val="50000"/>
                  </a:schemeClr>
                </a:solidFill>
                <a:latin typeface="Playfair Display" panose="00000500000000000000" pitchFamily="50" charset="0"/>
              </a:defRPr>
            </a:lvl1pPr>
          </a:lstStyle>
          <a:p>
            <a:pPr lvl="0"/>
            <a:r>
              <a:rPr lang="en-US" dirty="0"/>
              <a:t>lorem</a:t>
            </a:r>
          </a:p>
        </p:txBody>
      </p:sp>
    </p:spTree>
    <p:extLst>
      <p:ext uri="{BB962C8B-B14F-4D97-AF65-F5344CB8AC3E}">
        <p14:creationId xmlns:p14="http://schemas.microsoft.com/office/powerpoint/2010/main" val="18648630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07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tags" Target="../tags/tag2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oleObject" Target="../embeddings/oleObject1.bin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image" Target="../media/image1.emf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id="{23819293-4E7D-48A4-9D15-E6613C9805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8"/>
            </p:custDataLst>
            <p:extLst>
              <p:ext uri="{D42A27DB-BD31-4B8C-83A1-F6EECF244321}">
                <p14:modId xmlns:p14="http://schemas.microsoft.com/office/powerpoint/2010/main" val="4179311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09" imgW="498" imgH="499" progId="TCLayout.ActiveDocument.1">
                  <p:embed/>
                </p:oleObj>
              </mc:Choice>
              <mc:Fallback>
                <p:oleObj name="Слайд think-cell" r:id="rId109" imgW="498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5ABA37-73FA-42AB-83A7-3A45FB7D0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B265B-3FFB-4741-812D-E76B08F3BD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2B8297-BC1D-4161-B8CD-1B1933B2AE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E0C50E-60B5-486D-AE1A-0177DD3732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27192D-67EC-4FE5-BEFE-5BF3035A5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0000"/>
                </a:solidFill>
              </a:defRPr>
            </a:lvl1pPr>
          </a:lstStyle>
          <a:p>
            <a:fld id="{1F6C993F-016C-424B-B554-1BF85CE3C5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9085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4" r:id="rId2"/>
    <p:sldLayoutId id="2147483695" r:id="rId3"/>
    <p:sldLayoutId id="2147483696" r:id="rId4"/>
    <p:sldLayoutId id="2147483650" r:id="rId5"/>
    <p:sldLayoutId id="2147483651" r:id="rId6"/>
    <p:sldLayoutId id="2147483652" r:id="rId7"/>
    <p:sldLayoutId id="2147483653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3660" r:id="rId14"/>
    <p:sldLayoutId id="2147483717" r:id="rId15"/>
    <p:sldLayoutId id="2147483710" r:id="rId16"/>
    <p:sldLayoutId id="2147483661" r:id="rId17"/>
    <p:sldLayoutId id="2147483662" r:id="rId18"/>
    <p:sldLayoutId id="2147483663" r:id="rId19"/>
    <p:sldLayoutId id="2147483665" r:id="rId20"/>
    <p:sldLayoutId id="2147483666" r:id="rId21"/>
    <p:sldLayoutId id="2147483667" r:id="rId22"/>
    <p:sldLayoutId id="2147483668" r:id="rId23"/>
    <p:sldLayoutId id="2147483669" r:id="rId24"/>
    <p:sldLayoutId id="2147483670" r:id="rId25"/>
    <p:sldLayoutId id="2147483671" r:id="rId26"/>
    <p:sldLayoutId id="2147483672" r:id="rId27"/>
    <p:sldLayoutId id="2147483673" r:id="rId28"/>
    <p:sldLayoutId id="2147483674" r:id="rId29"/>
    <p:sldLayoutId id="2147483675" r:id="rId30"/>
    <p:sldLayoutId id="2147483676" r:id="rId31"/>
    <p:sldLayoutId id="2147483677" r:id="rId32"/>
    <p:sldLayoutId id="2147483678" r:id="rId33"/>
    <p:sldLayoutId id="2147483679" r:id="rId34"/>
    <p:sldLayoutId id="2147483680" r:id="rId35"/>
    <p:sldLayoutId id="2147483682" r:id="rId36"/>
    <p:sldLayoutId id="2147483684" r:id="rId37"/>
    <p:sldLayoutId id="2147483683" r:id="rId38"/>
    <p:sldLayoutId id="2147483681" r:id="rId39"/>
    <p:sldLayoutId id="2147483685" r:id="rId40"/>
    <p:sldLayoutId id="2147483686" r:id="rId41"/>
    <p:sldLayoutId id="2147483687" r:id="rId42"/>
    <p:sldLayoutId id="2147483688" r:id="rId43"/>
    <p:sldLayoutId id="2147483689" r:id="rId44"/>
    <p:sldLayoutId id="2147483690" r:id="rId45"/>
    <p:sldLayoutId id="2147483691" r:id="rId46"/>
    <p:sldLayoutId id="2147483692" r:id="rId47"/>
    <p:sldLayoutId id="2147483693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  <p:sldLayoutId id="2147483703" r:id="rId55"/>
    <p:sldLayoutId id="2147483704" r:id="rId56"/>
    <p:sldLayoutId id="2147483705" r:id="rId57"/>
    <p:sldLayoutId id="2147483706" r:id="rId58"/>
    <p:sldLayoutId id="2147483707" r:id="rId59"/>
    <p:sldLayoutId id="2147483708" r:id="rId60"/>
    <p:sldLayoutId id="2147483709" r:id="rId61"/>
    <p:sldLayoutId id="2147483711" r:id="rId62"/>
    <p:sldLayoutId id="2147483712" r:id="rId63"/>
    <p:sldLayoutId id="2147483713" r:id="rId64"/>
    <p:sldLayoutId id="2147483714" r:id="rId65"/>
    <p:sldLayoutId id="2147483715" r:id="rId66"/>
    <p:sldLayoutId id="2147483716" r:id="rId67"/>
    <p:sldLayoutId id="2147483718" r:id="rId68"/>
    <p:sldLayoutId id="2147483719" r:id="rId69"/>
    <p:sldLayoutId id="2147483720" r:id="rId70"/>
    <p:sldLayoutId id="2147483721" r:id="rId71"/>
    <p:sldLayoutId id="2147483722" r:id="rId72"/>
    <p:sldLayoutId id="2147483723" r:id="rId73"/>
    <p:sldLayoutId id="2147483724" r:id="rId74"/>
    <p:sldLayoutId id="2147483725" r:id="rId75"/>
    <p:sldLayoutId id="2147483726" r:id="rId76"/>
    <p:sldLayoutId id="2147483727" r:id="rId77"/>
    <p:sldLayoutId id="2147483728" r:id="rId78"/>
    <p:sldLayoutId id="2147483729" r:id="rId79"/>
    <p:sldLayoutId id="2147483730" r:id="rId80"/>
    <p:sldLayoutId id="2147483731" r:id="rId81"/>
    <p:sldLayoutId id="2147483732" r:id="rId82"/>
    <p:sldLayoutId id="2147483733" r:id="rId83"/>
    <p:sldLayoutId id="2147483734" r:id="rId84"/>
    <p:sldLayoutId id="2147483735" r:id="rId85"/>
    <p:sldLayoutId id="2147483736" r:id="rId86"/>
    <p:sldLayoutId id="2147483737" r:id="rId87"/>
    <p:sldLayoutId id="2147483738" r:id="rId88"/>
    <p:sldLayoutId id="2147483739" r:id="rId89"/>
    <p:sldLayoutId id="2147483740" r:id="rId90"/>
    <p:sldLayoutId id="2147483741" r:id="rId91"/>
    <p:sldLayoutId id="2147483742" r:id="rId92"/>
    <p:sldLayoutId id="2147483743" r:id="rId93"/>
    <p:sldLayoutId id="2147483752" r:id="rId94"/>
    <p:sldLayoutId id="2147483744" r:id="rId95"/>
    <p:sldLayoutId id="2147483745" r:id="rId96"/>
    <p:sldLayoutId id="2147483746" r:id="rId97"/>
    <p:sldLayoutId id="2147483747" r:id="rId98"/>
    <p:sldLayoutId id="2147483748" r:id="rId99"/>
    <p:sldLayoutId id="2147483749" r:id="rId100"/>
    <p:sldLayoutId id="2147483750" r:id="rId101"/>
    <p:sldLayoutId id="2147483751" r:id="rId102"/>
    <p:sldLayoutId id="2147483753" r:id="rId103"/>
    <p:sldLayoutId id="2147483754" r:id="rId104"/>
    <p:sldLayoutId id="2147483659" r:id="rId105"/>
    <p:sldLayoutId id="2147483755" r:id="rId10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06.xml"/><Relationship Id="rId1" Type="http://schemas.openxmlformats.org/officeDocument/2006/relationships/tags" Target="../tags/tag11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jpeg"/><Relationship Id="rId2" Type="http://schemas.openxmlformats.org/officeDocument/2006/relationships/slideLayout" Target="../slideLayouts/slideLayout106.xml"/><Relationship Id="rId16" Type="http://schemas.openxmlformats.org/officeDocument/2006/relationships/image" Target="../media/image38.png"/><Relationship Id="rId1" Type="http://schemas.openxmlformats.org/officeDocument/2006/relationships/tags" Target="../tags/tag12.xml"/><Relationship Id="rId6" Type="http://schemas.openxmlformats.org/officeDocument/2006/relationships/image" Target="../media/image14.png"/><Relationship Id="rId11" Type="http://schemas.openxmlformats.org/officeDocument/2006/relationships/image" Target="../media/image33.png"/><Relationship Id="rId5" Type="http://schemas.openxmlformats.org/officeDocument/2006/relationships/image" Target="../media/image15.png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19" Type="http://schemas.openxmlformats.org/officeDocument/2006/relationships/image" Target="../media/image41.png"/><Relationship Id="rId4" Type="http://schemas.openxmlformats.org/officeDocument/2006/relationships/image" Target="../media/image1.emf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6.xml"/><Relationship Id="rId1" Type="http://schemas.openxmlformats.org/officeDocument/2006/relationships/tags" Target="../tags/tag5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06.xml"/><Relationship Id="rId1" Type="http://schemas.openxmlformats.org/officeDocument/2006/relationships/tags" Target="../tags/tag6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06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06.xml"/><Relationship Id="rId1" Type="http://schemas.openxmlformats.org/officeDocument/2006/relationships/tags" Target="../tags/tag8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13" Type="http://schemas.openxmlformats.org/officeDocument/2006/relationships/image" Target="../media/image23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7.jpeg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106.xml"/><Relationship Id="rId1" Type="http://schemas.openxmlformats.org/officeDocument/2006/relationships/tags" Target="../tags/tag9.xml"/><Relationship Id="rId6" Type="http://schemas.openxmlformats.org/officeDocument/2006/relationships/image" Target="../media/image14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.emf"/><Relationship Id="rId9" Type="http://schemas.openxmlformats.org/officeDocument/2006/relationships/image" Target="../media/image19.png"/><Relationship Id="rId14" Type="http://schemas.openxmlformats.org/officeDocument/2006/relationships/image" Target="../media/image24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106.xml"/><Relationship Id="rId1" Type="http://schemas.openxmlformats.org/officeDocument/2006/relationships/tags" Target="../tags/tag10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.emf"/><Relationship Id="rId9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6.xml"/><Relationship Id="rId6" Type="http://schemas.openxmlformats.org/officeDocument/2006/relationships/image" Target="../media/image28.jpeg"/><Relationship Id="rId5" Type="http://schemas.openxmlformats.org/officeDocument/2006/relationships/hyperlink" Target="https://odnakassa.ru/faq/partners" TargetMode="External"/><Relationship Id="rId4" Type="http://schemas.openxmlformats.org/officeDocument/2006/relationships/hyperlink" Target="mailto:info@odnakassa.ru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8731"/>
            <a:ext cx="12192000" cy="6858000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9A2E50E-4121-4C8F-B989-1C3D71EB80F1}"/>
              </a:ext>
            </a:extLst>
          </p:cNvPr>
          <p:cNvSpPr txBox="1">
            <a:spLocks/>
          </p:cNvSpPr>
          <p:nvPr/>
        </p:nvSpPr>
        <p:spPr>
          <a:xfrm>
            <a:off x="621102" y="3163838"/>
            <a:ext cx="11173501" cy="223599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ru-RU" sz="6000" b="1" dirty="0">
                <a:solidFill>
                  <a:schemeClr val="bg1"/>
                </a:solidFill>
                <a:latin typeface="+mj-lt"/>
                <a:cs typeface="Rubik" panose="00000800000000000000" pitchFamily="2" charset="-79"/>
              </a:rPr>
              <a:t>ОднаКасса</a:t>
            </a:r>
            <a:endParaRPr lang="en-US" sz="6000" b="1" dirty="0">
              <a:solidFill>
                <a:schemeClr val="bg1"/>
              </a:solidFill>
              <a:latin typeface="+mj-lt"/>
              <a:cs typeface="Rubik" panose="00000800000000000000" pitchFamily="2" charset="-79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95" y="85559"/>
            <a:ext cx="4613238" cy="5099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431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78A47423-DBCE-473A-A5B9-1D0504AA1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8" imgH="499" progId="TCLayout.ActiveDocument.1">
                  <p:embed/>
                </p:oleObj>
              </mc:Choice>
              <mc:Fallback>
                <p:oleObj name="Слайд think-cell" r:id="rId3" imgW="498" imgH="499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78A47423-DBCE-473A-A5B9-1D0504AA1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Рисунок 4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7"/>
            <a:ext cx="12192000" cy="1075585"/>
          </a:xfrm>
          <a:prstGeom prst="rect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</p:pic>
      <p:sp>
        <p:nvSpPr>
          <p:cNvPr id="51" name="Rectangle 13"/>
          <p:cNvSpPr>
            <a:spLocks/>
          </p:cNvSpPr>
          <p:nvPr/>
        </p:nvSpPr>
        <p:spPr bwMode="auto">
          <a:xfrm>
            <a:off x="1033271" y="-53282"/>
            <a:ext cx="10558653" cy="936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r>
              <a:rPr lang="ru-RU" sz="2400" b="1" dirty="0">
                <a:solidFill>
                  <a:schemeClr val="bg1"/>
                </a:solidFill>
                <a:latin typeface="+mj-lt"/>
                <a:cs typeface="Rubik Bold" panose="02000604000000020004" pitchFamily="2" charset="-79"/>
              </a:rPr>
              <a:t>Технологический стек «ОднаКасса»</a:t>
            </a:r>
          </a:p>
        </p:txBody>
      </p:sp>
      <p:pic>
        <p:nvPicPr>
          <p:cNvPr id="16" name="Рисунок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6"/>
            <a:ext cx="1033272" cy="1148241"/>
          </a:xfrm>
          <a:prstGeom prst="rect">
            <a:avLst/>
          </a:prstGeom>
        </p:spPr>
      </p:pic>
      <p:graphicFrame>
        <p:nvGraphicFramePr>
          <p:cNvPr id="13" name="Таблица 7">
            <a:extLst>
              <a:ext uri="{FF2B5EF4-FFF2-40B4-BE49-F238E27FC236}">
                <a16:creationId xmlns:a16="http://schemas.microsoft.com/office/drawing/2014/main" id="{FEF705CB-63B5-4FE5-9CB6-DFB9A9BDCDC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0594669"/>
              </p:ext>
            </p:extLst>
          </p:nvPr>
        </p:nvGraphicFramePr>
        <p:xfrm>
          <a:off x="843326" y="1674234"/>
          <a:ext cx="10991849" cy="3509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3597">
                  <a:extLst>
                    <a:ext uri="{9D8B030D-6E8A-4147-A177-3AD203B41FA5}">
                      <a16:colId xmlns:a16="http://schemas.microsoft.com/office/drawing/2014/main" val="1319723529"/>
                    </a:ext>
                  </a:extLst>
                </a:gridCol>
                <a:gridCol w="4025603">
                  <a:extLst>
                    <a:ext uri="{9D8B030D-6E8A-4147-A177-3AD203B41FA5}">
                      <a16:colId xmlns:a16="http://schemas.microsoft.com/office/drawing/2014/main" val="3402600126"/>
                    </a:ext>
                  </a:extLst>
                </a:gridCol>
                <a:gridCol w="6322649">
                  <a:extLst>
                    <a:ext uri="{9D8B030D-6E8A-4147-A177-3AD203B41FA5}">
                      <a16:colId xmlns:a16="http://schemas.microsoft.com/office/drawing/2014/main" val="255505172"/>
                    </a:ext>
                  </a:extLst>
                </a:gridCol>
              </a:tblGrid>
              <a:tr h="877383">
                <a:tc>
                  <a:txBody>
                    <a:bodyPr/>
                    <a:lstStyle/>
                    <a:p>
                      <a:endParaRPr lang="ru-RU" sz="1400" b="1" kern="1200" dirty="0">
                        <a:solidFill>
                          <a:srgbClr val="47474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хитектура</a:t>
                      </a:r>
                      <a:endParaRPr lang="ru-RU" sz="1400" b="1" kern="1200" dirty="0">
                        <a:solidFill>
                          <a:srgbClr val="4747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kern="1200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рхитектура  ПО разработана с учетом трендов </a:t>
                      </a:r>
                      <a:r>
                        <a:rPr lang="ru-RU" sz="1200" b="0" kern="1200" dirty="0" err="1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икросервисного</a:t>
                      </a:r>
                      <a:r>
                        <a:rPr lang="ru-RU" sz="1200" b="0" kern="1200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одхода, т.е. каждый функционал ПО отвечающий за определенную область бизнес-процесса управления автовокзалом  – это самостоятельное приложение (сервис).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5632485"/>
                  </a:ext>
                </a:extLst>
              </a:tr>
              <a:tr h="877383">
                <a:tc>
                  <a:txBody>
                    <a:bodyPr/>
                    <a:lstStyle/>
                    <a:p>
                      <a:endParaRPr lang="ru-RU" sz="1400" b="1" dirty="0">
                        <a:solidFill>
                          <a:srgbClr val="474747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зыки программирования</a:t>
                      </a: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P, GO, JavaScript (NodeJS), Java, Kotlin, Swift</a:t>
                      </a:r>
                      <a:endParaRPr lang="ru-RU" sz="1200" b="0" dirty="0">
                        <a:solidFill>
                          <a:srgbClr val="474747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3540880"/>
                  </a:ext>
                </a:extLst>
              </a:tr>
              <a:tr h="8773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solidFill>
                          <a:srgbClr val="474747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ранение данных</a:t>
                      </a: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зы данных: </a:t>
                      </a:r>
                      <a:r>
                        <a:rPr lang="en-US" sz="1200" kern="1200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iaDB, </a:t>
                      </a:r>
                      <a:r>
                        <a:rPr lang="en-US" sz="1200" kern="1200" dirty="0" err="1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srgreSQL</a:t>
                      </a:r>
                      <a:endParaRPr lang="en-US" sz="1200" kern="1200" dirty="0">
                        <a:solidFill>
                          <a:srgbClr val="4747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dirty="0">
                        <a:solidFill>
                          <a:srgbClr val="4747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8582702"/>
                  </a:ext>
                </a:extLst>
              </a:tr>
              <a:tr h="8773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solidFill>
                          <a:srgbClr val="474747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ЦОД</a:t>
                      </a: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Yandex Cloud </a:t>
                      </a:r>
                      <a:endParaRPr lang="ru-RU" sz="1200" kern="1200" dirty="0">
                        <a:solidFill>
                          <a:srgbClr val="4747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87513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459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78A47423-DBCE-473A-A5B9-1D0504AA1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8" imgH="499" progId="TCLayout.ActiveDocument.1">
                  <p:embed/>
                </p:oleObj>
              </mc:Choice>
              <mc:Fallback>
                <p:oleObj name="Слайд think-cell" r:id="rId3" imgW="498" imgH="499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78A47423-DBCE-473A-A5B9-1D0504AA1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Рисунок 4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7"/>
            <a:ext cx="12192000" cy="1075585"/>
          </a:xfrm>
          <a:prstGeom prst="rect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</p:pic>
      <p:sp>
        <p:nvSpPr>
          <p:cNvPr id="51" name="Rectangle 13"/>
          <p:cNvSpPr>
            <a:spLocks/>
          </p:cNvSpPr>
          <p:nvPr/>
        </p:nvSpPr>
        <p:spPr bwMode="auto">
          <a:xfrm>
            <a:off x="1033271" y="-53282"/>
            <a:ext cx="10558653" cy="936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r>
              <a:rPr lang="ru-RU" sz="2400" b="1" dirty="0">
                <a:solidFill>
                  <a:schemeClr val="bg1"/>
                </a:solidFill>
                <a:latin typeface="+mj-lt"/>
                <a:cs typeface="Rubik Bold" panose="02000604000000020004" pitchFamily="2" charset="-79"/>
              </a:rPr>
              <a:t>Наши партнеры</a:t>
            </a:r>
          </a:p>
        </p:txBody>
      </p:sp>
      <p:pic>
        <p:nvPicPr>
          <p:cNvPr id="16" name="Рисунок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6"/>
            <a:ext cx="1033272" cy="1148241"/>
          </a:xfrm>
          <a:prstGeom prst="rect">
            <a:avLst/>
          </a:prstGeom>
        </p:spPr>
      </p:pic>
      <p:sp>
        <p:nvSpPr>
          <p:cNvPr id="8" name="object 12">
            <a:extLst>
              <a:ext uri="{FF2B5EF4-FFF2-40B4-BE49-F238E27FC236}">
                <a16:creationId xmlns:a16="http://schemas.microsoft.com/office/drawing/2014/main" id="{5EAA6152-60ED-4329-879A-9C8E68FA9372}"/>
              </a:ext>
            </a:extLst>
          </p:cNvPr>
          <p:cNvSpPr/>
          <p:nvPr/>
        </p:nvSpPr>
        <p:spPr>
          <a:xfrm>
            <a:off x="453634" y="4287914"/>
            <a:ext cx="1376148" cy="34757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13">
            <a:extLst>
              <a:ext uri="{FF2B5EF4-FFF2-40B4-BE49-F238E27FC236}">
                <a16:creationId xmlns:a16="http://schemas.microsoft.com/office/drawing/2014/main" id="{04A22099-778B-45F4-A9E5-0B411AFA1FF6}"/>
              </a:ext>
            </a:extLst>
          </p:cNvPr>
          <p:cNvSpPr/>
          <p:nvPr/>
        </p:nvSpPr>
        <p:spPr>
          <a:xfrm>
            <a:off x="2525870" y="4202880"/>
            <a:ext cx="1190004" cy="517646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6EA784D-70F8-4C34-80BC-B1ABA17C02B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11887" y="4114295"/>
            <a:ext cx="1280376" cy="555635"/>
          </a:xfrm>
          <a:prstGeom prst="rect">
            <a:avLst/>
          </a:prstGeom>
        </p:spPr>
      </p:pic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BDCB0A63-980B-45F9-8565-75AAF5FE4AA8}"/>
              </a:ext>
            </a:extLst>
          </p:cNvPr>
          <p:cNvGrpSpPr/>
          <p:nvPr/>
        </p:nvGrpSpPr>
        <p:grpSpPr>
          <a:xfrm>
            <a:off x="7759158" y="2119165"/>
            <a:ext cx="1196585" cy="839988"/>
            <a:chOff x="3931811" y="5125025"/>
            <a:chExt cx="1196585" cy="839988"/>
          </a:xfrm>
        </p:grpSpPr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5CE4D7C5-EDD8-4543-B5B4-BE48D792FA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201824" y="5125025"/>
              <a:ext cx="571500" cy="704850"/>
            </a:xfrm>
            <a:prstGeom prst="rect">
              <a:avLst/>
            </a:prstGeom>
          </p:spPr>
        </p:pic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id="{FD16B051-6325-4DB0-98D2-F6693739ED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931811" y="5784623"/>
              <a:ext cx="1196585" cy="180390"/>
            </a:xfrm>
            <a:prstGeom prst="rect">
              <a:avLst/>
            </a:prstGeom>
          </p:spPr>
        </p:pic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D9D36DA6-57E1-4DBA-B5D1-2C11A7459DFE}"/>
              </a:ext>
            </a:extLst>
          </p:cNvPr>
          <p:cNvGrpSpPr/>
          <p:nvPr/>
        </p:nvGrpSpPr>
        <p:grpSpPr>
          <a:xfrm>
            <a:off x="9592747" y="2164319"/>
            <a:ext cx="1834112" cy="949754"/>
            <a:chOff x="5186718" y="5690481"/>
            <a:chExt cx="1834112" cy="949754"/>
          </a:xfrm>
        </p:grpSpPr>
        <p:pic>
          <p:nvPicPr>
            <p:cNvPr id="20" name="Рисунок 19">
              <a:extLst>
                <a:ext uri="{FF2B5EF4-FFF2-40B4-BE49-F238E27FC236}">
                  <a16:creationId xmlns:a16="http://schemas.microsoft.com/office/drawing/2014/main" id="{2F2513E9-5429-46EB-9918-56E91CE1B3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4652" y="5690481"/>
              <a:ext cx="877088" cy="520530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955AB4C-DB9A-415B-BBC9-F09B4F8ADEFA}"/>
                </a:ext>
              </a:extLst>
            </p:cNvPr>
            <p:cNvSpPr txBox="1"/>
            <p:nvPr/>
          </p:nvSpPr>
          <p:spPr>
            <a:xfrm>
              <a:off x="5186718" y="6178570"/>
              <a:ext cx="183411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/>
                <a:t>Тульское областное объединение автовокзалов и пассажирских автостанций</a:t>
              </a:r>
            </a:p>
          </p:txBody>
        </p:sp>
      </p:grp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014A8E09-B8B4-4008-B3A5-71020AE3A06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93165" y="2476594"/>
            <a:ext cx="1981859" cy="333455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AEF691BA-9A9B-461D-B60D-AB2EC307697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750856" y="2340154"/>
            <a:ext cx="1294165" cy="543086"/>
          </a:xfrm>
          <a:prstGeom prst="roundRect">
            <a:avLst>
              <a:gd name="adj" fmla="val 50000"/>
            </a:avLst>
          </a:prstGeom>
        </p:spPr>
      </p:pic>
      <p:pic>
        <p:nvPicPr>
          <p:cNvPr id="1026" name="Picture 2" descr="Picture background">
            <a:extLst>
              <a:ext uri="{FF2B5EF4-FFF2-40B4-BE49-F238E27FC236}">
                <a16:creationId xmlns:a16="http://schemas.microsoft.com/office/drawing/2014/main" id="{7694CFBA-8C9F-43F5-8864-2AF4214D5C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3400" y="2077755"/>
            <a:ext cx="1814000" cy="1036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1E1627DB-122B-4989-B596-BA6CC54B08D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283734" y="4044943"/>
            <a:ext cx="2143125" cy="590550"/>
          </a:xfrm>
          <a:prstGeom prst="rect">
            <a:avLst/>
          </a:prstGeom>
        </p:spPr>
      </p:pic>
      <p:pic>
        <p:nvPicPr>
          <p:cNvPr id="1030" name="Picture 6" descr="Picture background">
            <a:extLst>
              <a:ext uri="{FF2B5EF4-FFF2-40B4-BE49-F238E27FC236}">
                <a16:creationId xmlns:a16="http://schemas.microsoft.com/office/drawing/2014/main" id="{F80AA304-1796-4BE9-9C94-9ED843B164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7973" y="3495079"/>
            <a:ext cx="2523581" cy="1794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Picture background">
            <a:extLst>
              <a:ext uri="{FF2B5EF4-FFF2-40B4-BE49-F238E27FC236}">
                <a16:creationId xmlns:a16="http://schemas.microsoft.com/office/drawing/2014/main" id="{56754D38-61D2-4FF7-8200-1FD231FF13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7640" y="5244132"/>
            <a:ext cx="2325165" cy="1613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AutoShape 10" descr="Picture background">
            <a:extLst>
              <a:ext uri="{FF2B5EF4-FFF2-40B4-BE49-F238E27FC236}">
                <a16:creationId xmlns:a16="http://schemas.microsoft.com/office/drawing/2014/main" id="{C58E46CB-ECFA-4DA6-949A-B4DA56361C9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97A3FDB4-37B6-40D4-A328-98D3E025C3F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465668" y="5670151"/>
            <a:ext cx="1159264" cy="543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6254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03567056-89FB-4879-B350-30F4C5B4EA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8" imgH="499" progId="TCLayout.ActiveDocument.1">
                  <p:embed/>
                </p:oleObj>
              </mc:Choice>
              <mc:Fallback>
                <p:oleObj name="Слайд think-cell" r:id="rId3" imgW="498" imgH="499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03567056-89FB-4879-B350-30F4C5B4EA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Рисунок 4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7"/>
            <a:ext cx="12192000" cy="1075585"/>
          </a:xfrm>
          <a:prstGeom prst="rect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</p:pic>
      <p:sp>
        <p:nvSpPr>
          <p:cNvPr id="51" name="Rectangle 13"/>
          <p:cNvSpPr>
            <a:spLocks/>
          </p:cNvSpPr>
          <p:nvPr/>
        </p:nvSpPr>
        <p:spPr bwMode="auto">
          <a:xfrm>
            <a:off x="1326571" y="-57688"/>
            <a:ext cx="9739960" cy="936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r>
              <a:rPr lang="ru-RU" sz="2400" b="1" dirty="0">
                <a:solidFill>
                  <a:schemeClr val="bg1"/>
                </a:solidFill>
                <a:latin typeface="+mj-lt"/>
                <a:cs typeface="Rubik" panose="00000800000000000000" pitchFamily="2" charset="-79"/>
                <a:sym typeface="Lato Light" charset="0"/>
              </a:rPr>
              <a:t>ОднаКасса - это</a:t>
            </a:r>
          </a:p>
        </p:txBody>
      </p:sp>
      <p:pic>
        <p:nvPicPr>
          <p:cNvPr id="16" name="Рисунок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6"/>
            <a:ext cx="1033272" cy="1148241"/>
          </a:xfrm>
          <a:prstGeom prst="rect">
            <a:avLst/>
          </a:prstGeom>
        </p:spPr>
      </p:pic>
      <p:sp>
        <p:nvSpPr>
          <p:cNvPr id="27" name="object 7"/>
          <p:cNvSpPr txBox="1"/>
          <p:nvPr/>
        </p:nvSpPr>
        <p:spPr>
          <a:xfrm>
            <a:off x="3235830" y="4231825"/>
            <a:ext cx="2966884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algn="ctr"/>
            <a:r>
              <a:rPr lang="ru-RU" sz="3200" spc="-10" dirty="0">
                <a:solidFill>
                  <a:srgbClr val="474747"/>
                </a:solidFill>
                <a:cs typeface="Arial" panose="020B0604020202020204" pitchFamily="34" charset="0"/>
              </a:rPr>
              <a:t>&gt;</a:t>
            </a:r>
            <a:r>
              <a:rPr lang="ru-RU" sz="4400" b="1" spc="-10" dirty="0">
                <a:solidFill>
                  <a:srgbClr val="474747"/>
                </a:solidFill>
                <a:cs typeface="Arial" panose="020B0604020202020204" pitchFamily="34" charset="0"/>
              </a:rPr>
              <a:t>50</a:t>
            </a:r>
            <a:endParaRPr lang="ru-RU" sz="1400" b="1" spc="-10" dirty="0">
              <a:solidFill>
                <a:srgbClr val="474747"/>
              </a:solidFill>
              <a:cs typeface="Arial" panose="020B0604020202020204" pitchFamily="34" charset="0"/>
            </a:endParaRPr>
          </a:p>
        </p:txBody>
      </p:sp>
      <p:sp>
        <p:nvSpPr>
          <p:cNvPr id="28" name="object 7"/>
          <p:cNvSpPr txBox="1"/>
          <p:nvPr/>
        </p:nvSpPr>
        <p:spPr>
          <a:xfrm>
            <a:off x="9312323" y="4244026"/>
            <a:ext cx="2101118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algn="ctr"/>
            <a:r>
              <a:rPr lang="ru-RU" sz="3200" spc="-10" dirty="0">
                <a:solidFill>
                  <a:srgbClr val="474747"/>
                </a:solidFill>
                <a:cs typeface="Arial" panose="020B0604020202020204" pitchFamily="34" charset="0"/>
              </a:rPr>
              <a:t>&gt;</a:t>
            </a:r>
            <a:r>
              <a:rPr lang="ru-RU" sz="4400" b="1" spc="-10" dirty="0">
                <a:solidFill>
                  <a:srgbClr val="474747"/>
                </a:solidFill>
                <a:cs typeface="Arial" panose="020B0604020202020204" pitchFamily="34" charset="0"/>
              </a:rPr>
              <a:t>3 </a:t>
            </a:r>
            <a:r>
              <a:rPr lang="ru-RU" sz="3200" spc="-10" dirty="0">
                <a:solidFill>
                  <a:srgbClr val="474747"/>
                </a:solidFill>
                <a:cs typeface="Arial" panose="020B0604020202020204" pitchFamily="34" charset="0"/>
              </a:rPr>
              <a:t>млн</a:t>
            </a:r>
            <a:endParaRPr lang="ru-RU" sz="900" spc="20" dirty="0">
              <a:solidFill>
                <a:srgbClr val="474747"/>
              </a:solidFill>
              <a:cs typeface="Arial" panose="020B0604020202020204" pitchFamily="34" charset="0"/>
            </a:endParaRPr>
          </a:p>
        </p:txBody>
      </p:sp>
      <p:sp>
        <p:nvSpPr>
          <p:cNvPr id="29" name="object 7">
            <a:extLst>
              <a:ext uri="{FF2B5EF4-FFF2-40B4-BE49-F238E27FC236}">
                <a16:creationId xmlns:a16="http://schemas.microsoft.com/office/drawing/2014/main" id="{E7AA0BF1-E544-402D-856E-4FF4721FCFB2}"/>
              </a:ext>
            </a:extLst>
          </p:cNvPr>
          <p:cNvSpPr txBox="1"/>
          <p:nvPr/>
        </p:nvSpPr>
        <p:spPr>
          <a:xfrm>
            <a:off x="6785386" y="4240451"/>
            <a:ext cx="1843812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algn="ctr"/>
            <a:r>
              <a:rPr lang="ru-RU" sz="3200" spc="-10" dirty="0">
                <a:solidFill>
                  <a:srgbClr val="474747"/>
                </a:solidFill>
                <a:cs typeface="Arial" panose="020B0604020202020204" pitchFamily="34" charset="0"/>
              </a:rPr>
              <a:t>&gt;</a:t>
            </a:r>
            <a:r>
              <a:rPr lang="ru-RU" sz="4400" b="1" spc="-10" dirty="0">
                <a:solidFill>
                  <a:srgbClr val="474747"/>
                </a:solidFill>
                <a:cs typeface="Arial" panose="020B0604020202020204" pitchFamily="34" charset="0"/>
              </a:rPr>
              <a:t>25 </a:t>
            </a:r>
            <a:r>
              <a:rPr lang="ru-RU" sz="3200" spc="-10" dirty="0">
                <a:solidFill>
                  <a:srgbClr val="474747"/>
                </a:solidFill>
                <a:cs typeface="Arial" panose="020B0604020202020204" pitchFamily="34" charset="0"/>
              </a:rPr>
              <a:t>млн</a:t>
            </a:r>
          </a:p>
        </p:txBody>
      </p:sp>
      <p:grpSp>
        <p:nvGrpSpPr>
          <p:cNvPr id="30" name="Группа 29"/>
          <p:cNvGrpSpPr/>
          <p:nvPr/>
        </p:nvGrpSpPr>
        <p:grpSpPr>
          <a:xfrm>
            <a:off x="4476206" y="1616191"/>
            <a:ext cx="418585" cy="411080"/>
            <a:chOff x="630339" y="4149123"/>
            <a:chExt cx="515127" cy="505891"/>
          </a:xfrm>
        </p:grpSpPr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id="{5B07B88B-E4A5-4CA4-99F7-122223DF80D0}"/>
                </a:ext>
              </a:extLst>
            </p:cNvPr>
            <p:cNvSpPr/>
            <p:nvPr/>
          </p:nvSpPr>
          <p:spPr>
            <a:xfrm>
              <a:off x="713466" y="4223014"/>
              <a:ext cx="432000" cy="43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03F99BA4-918C-49F7-822A-B2C5F7C3BD8F}"/>
                </a:ext>
              </a:extLst>
            </p:cNvPr>
            <p:cNvSpPr/>
            <p:nvPr/>
          </p:nvSpPr>
          <p:spPr>
            <a:xfrm>
              <a:off x="630339" y="4149123"/>
              <a:ext cx="432000" cy="432000"/>
            </a:xfrm>
            <a:prstGeom prst="rect">
              <a:avLst/>
            </a:prstGeom>
            <a:solidFill>
              <a:srgbClr val="ED1B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400" dirty="0">
                  <a:solidFill>
                    <a:srgbClr val="000000"/>
                  </a:solidFill>
                  <a:cs typeface="Arial" panose="020B0604020202020204" pitchFamily="34" charset="0"/>
                </a:rPr>
                <a:t>2</a:t>
              </a:r>
              <a:endParaRPr lang="ru-RU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2E72CBB0-B804-410A-B93B-B390BE827C42}"/>
              </a:ext>
            </a:extLst>
          </p:cNvPr>
          <p:cNvSpPr txBox="1"/>
          <p:nvPr/>
        </p:nvSpPr>
        <p:spPr>
          <a:xfrm>
            <a:off x="983481" y="1689673"/>
            <a:ext cx="2778556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200" b="1" dirty="0">
                <a:solidFill>
                  <a:srgbClr val="474747"/>
                </a:solidFill>
              </a:rPr>
              <a:t>Автоматизация процессов автовокзала «под ключ»: </a:t>
            </a:r>
            <a:br>
              <a:rPr lang="ru-RU" sz="1200" b="1" dirty="0">
                <a:solidFill>
                  <a:srgbClr val="474747"/>
                </a:solidFill>
              </a:rPr>
            </a:br>
            <a:r>
              <a:rPr lang="ru-RU" sz="1200" dirty="0">
                <a:solidFill>
                  <a:srgbClr val="474747"/>
                </a:solidFill>
                <a:effectLst/>
              </a:rPr>
              <a:t>диспетчеризация, администрирование, информирование, финансы и отчётность и пр.</a:t>
            </a:r>
            <a:endParaRPr lang="ru-RU" sz="1200" dirty="0">
              <a:solidFill>
                <a:srgbClr val="474747"/>
              </a:solidFill>
            </a:endParaRPr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A1EE6DE0-6904-4199-ADF8-258178CD3A4D}"/>
              </a:ext>
            </a:extLst>
          </p:cNvPr>
          <p:cNvGrpSpPr/>
          <p:nvPr/>
        </p:nvGrpSpPr>
        <p:grpSpPr>
          <a:xfrm>
            <a:off x="8012199" y="1607078"/>
            <a:ext cx="405674" cy="398401"/>
            <a:chOff x="-905164" y="1561523"/>
            <a:chExt cx="515127" cy="505892"/>
          </a:xfrm>
        </p:grpSpPr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CC82F69F-C761-4CF8-855F-03B221A73330}"/>
                </a:ext>
              </a:extLst>
            </p:cNvPr>
            <p:cNvSpPr/>
            <p:nvPr/>
          </p:nvSpPr>
          <p:spPr>
            <a:xfrm>
              <a:off x="-822037" y="1635415"/>
              <a:ext cx="432000" cy="43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472D29EE-804E-43B2-AAA4-08F1548E5553}"/>
                </a:ext>
              </a:extLst>
            </p:cNvPr>
            <p:cNvSpPr/>
            <p:nvPr/>
          </p:nvSpPr>
          <p:spPr>
            <a:xfrm>
              <a:off x="-905164" y="1561523"/>
              <a:ext cx="432001" cy="431999"/>
            </a:xfrm>
            <a:prstGeom prst="rect">
              <a:avLst/>
            </a:prstGeom>
            <a:solidFill>
              <a:srgbClr val="ED1B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400" dirty="0">
                  <a:solidFill>
                    <a:srgbClr val="000000"/>
                  </a:solidFill>
                  <a:cs typeface="Arial" panose="020B0604020202020204" pitchFamily="34" charset="0"/>
                </a:rPr>
                <a:t>3</a:t>
              </a:r>
              <a:endParaRPr lang="ru-RU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565D7B69-DB99-4601-BFB0-A61006CD3898}"/>
              </a:ext>
            </a:extLst>
          </p:cNvPr>
          <p:cNvSpPr txBox="1"/>
          <p:nvPr/>
        </p:nvSpPr>
        <p:spPr>
          <a:xfrm>
            <a:off x="8239395" y="1674706"/>
            <a:ext cx="3113641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200" b="1" dirty="0">
                <a:solidFill>
                  <a:srgbClr val="474747"/>
                </a:solidFill>
              </a:rPr>
              <a:t>Предоставление автовокзалам инструментов для онлайн-продаж билетов:</a:t>
            </a:r>
          </a:p>
          <a:p>
            <a:pPr algn="ctr"/>
            <a:r>
              <a:rPr lang="ru-RU" sz="1200" dirty="0">
                <a:solidFill>
                  <a:srgbClr val="474747"/>
                </a:solidFill>
              </a:rPr>
              <a:t>мобильное приложение в цветах автовокзала, модуль продаж для сайта, мобильные кассы и пр.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FD3DAE02-2D5A-490A-A194-EFA2C82E9BBB}"/>
              </a:ext>
            </a:extLst>
          </p:cNvPr>
          <p:cNvSpPr txBox="1"/>
          <p:nvPr/>
        </p:nvSpPr>
        <p:spPr>
          <a:xfrm>
            <a:off x="4163391" y="3483467"/>
            <a:ext cx="35439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474747"/>
                </a:solidFill>
              </a:rPr>
              <a:t>ОднаКасса в цифрах</a:t>
            </a:r>
          </a:p>
        </p:txBody>
      </p:sp>
      <p:sp>
        <p:nvSpPr>
          <p:cNvPr id="40" name="object 7">
            <a:extLst>
              <a:ext uri="{FF2B5EF4-FFF2-40B4-BE49-F238E27FC236}">
                <a16:creationId xmlns:a16="http://schemas.microsoft.com/office/drawing/2014/main" id="{E7AA0BF1-E544-402D-856E-4FF4721FCFB2}"/>
              </a:ext>
            </a:extLst>
          </p:cNvPr>
          <p:cNvSpPr txBox="1"/>
          <p:nvPr/>
        </p:nvSpPr>
        <p:spPr>
          <a:xfrm>
            <a:off x="896851" y="4231825"/>
            <a:ext cx="2223909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algn="ctr"/>
            <a:r>
              <a:rPr lang="ru-RU" sz="3200" spc="-10" dirty="0">
                <a:solidFill>
                  <a:srgbClr val="474747"/>
                </a:solidFill>
                <a:cs typeface="Arial" panose="020B0604020202020204" pitchFamily="34" charset="0"/>
              </a:rPr>
              <a:t> </a:t>
            </a:r>
            <a:r>
              <a:rPr lang="ru-RU" sz="4400" b="1" spc="-10" dirty="0">
                <a:solidFill>
                  <a:srgbClr val="474747"/>
                </a:solidFill>
                <a:cs typeface="Arial" panose="020B0604020202020204" pitchFamily="34" charset="0"/>
              </a:rPr>
              <a:t>7 </a:t>
            </a:r>
            <a:r>
              <a:rPr lang="ru-RU" sz="3200" spc="-10" dirty="0">
                <a:solidFill>
                  <a:srgbClr val="474747"/>
                </a:solidFill>
                <a:cs typeface="Arial" panose="020B0604020202020204" pitchFamily="34" charset="0"/>
              </a:rPr>
              <a:t>лет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E267248-8368-46F5-A8D5-4C35752A941D}"/>
              </a:ext>
            </a:extLst>
          </p:cNvPr>
          <p:cNvSpPr txBox="1"/>
          <p:nvPr/>
        </p:nvSpPr>
        <p:spPr>
          <a:xfrm>
            <a:off x="4839748" y="1691958"/>
            <a:ext cx="2468843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200" b="1" dirty="0">
                <a:solidFill>
                  <a:srgbClr val="474747"/>
                </a:solidFill>
              </a:rPr>
              <a:t>Агент по хранению и продаже билетов автовокзала:</a:t>
            </a:r>
          </a:p>
          <a:p>
            <a:pPr algn="ctr"/>
            <a:r>
              <a:rPr lang="ru-RU" sz="1200" dirty="0">
                <a:solidFill>
                  <a:srgbClr val="474747"/>
                </a:solidFill>
              </a:rPr>
              <a:t>собственная цифровая система продаж билетов на междугородние и международные автобусные перевозки</a:t>
            </a:r>
          </a:p>
        </p:txBody>
      </p: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C017177B-AC61-4647-BAA9-596A0CD9C095}"/>
              </a:ext>
            </a:extLst>
          </p:cNvPr>
          <p:cNvGrpSpPr/>
          <p:nvPr/>
        </p:nvGrpSpPr>
        <p:grpSpPr>
          <a:xfrm>
            <a:off x="896851" y="1665692"/>
            <a:ext cx="405170" cy="397905"/>
            <a:chOff x="-905164" y="1561524"/>
            <a:chExt cx="515127" cy="505891"/>
          </a:xfrm>
        </p:grpSpPr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EA08C788-A5C4-4FB6-A6F8-1620EF1882E1}"/>
                </a:ext>
              </a:extLst>
            </p:cNvPr>
            <p:cNvSpPr/>
            <p:nvPr/>
          </p:nvSpPr>
          <p:spPr>
            <a:xfrm>
              <a:off x="-822037" y="1635415"/>
              <a:ext cx="432000" cy="432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38FF560E-AEDC-40BF-9D9C-5D7A9410D355}"/>
                </a:ext>
              </a:extLst>
            </p:cNvPr>
            <p:cNvSpPr/>
            <p:nvPr/>
          </p:nvSpPr>
          <p:spPr>
            <a:xfrm>
              <a:off x="-905164" y="1561524"/>
              <a:ext cx="432000" cy="432000"/>
            </a:xfrm>
            <a:prstGeom prst="rect">
              <a:avLst/>
            </a:prstGeom>
            <a:solidFill>
              <a:srgbClr val="ED1B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400" dirty="0">
                  <a:solidFill>
                    <a:srgbClr val="000000"/>
                  </a:solidFill>
                  <a:cs typeface="Arial" panose="020B0604020202020204" pitchFamily="34" charset="0"/>
                </a:rPr>
                <a:t>1</a:t>
              </a:r>
              <a:endParaRPr lang="ru-RU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46" name="object 7"/>
          <p:cNvSpPr txBox="1"/>
          <p:nvPr/>
        </p:nvSpPr>
        <p:spPr>
          <a:xfrm>
            <a:off x="3469631" y="5062266"/>
            <a:ext cx="2966884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algn="ctr"/>
            <a:r>
              <a:rPr lang="ru-RU" sz="1200" spc="-10" dirty="0">
                <a:solidFill>
                  <a:srgbClr val="474747"/>
                </a:solidFill>
                <a:cs typeface="Arial" panose="020B0604020202020204" pitchFamily="34" charset="0"/>
              </a:rPr>
              <a:t>автовокзалов автоматизировано</a:t>
            </a:r>
          </a:p>
          <a:p>
            <a:pPr marL="38100" algn="ctr">
              <a:spcAft>
                <a:spcPts val="600"/>
              </a:spcAft>
            </a:pPr>
            <a:r>
              <a:rPr lang="ru-RU" sz="1200" spc="-10" dirty="0">
                <a:solidFill>
                  <a:srgbClr val="474747"/>
                </a:solidFill>
                <a:cs typeface="Arial" panose="020B0604020202020204" pitchFamily="34" charset="0"/>
              </a:rPr>
              <a:t>(в Московской, Тверской, Ярославской и других областях)</a:t>
            </a:r>
            <a:endParaRPr sz="1200" spc="-10" dirty="0">
              <a:solidFill>
                <a:srgbClr val="474747"/>
              </a:solidFill>
              <a:cs typeface="Arial" panose="020B0604020202020204" pitchFamily="34" charset="0"/>
            </a:endParaRPr>
          </a:p>
        </p:txBody>
      </p:sp>
      <p:sp>
        <p:nvSpPr>
          <p:cNvPr id="47" name="object 7">
            <a:extLst>
              <a:ext uri="{FF2B5EF4-FFF2-40B4-BE49-F238E27FC236}">
                <a16:creationId xmlns:a16="http://schemas.microsoft.com/office/drawing/2014/main" id="{E7AA0BF1-E544-402D-856E-4FF4721FCFB2}"/>
              </a:ext>
            </a:extLst>
          </p:cNvPr>
          <p:cNvSpPr txBox="1"/>
          <p:nvPr/>
        </p:nvSpPr>
        <p:spPr>
          <a:xfrm>
            <a:off x="904159" y="5050950"/>
            <a:ext cx="2223909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algn="ctr"/>
            <a:r>
              <a:rPr lang="ru-RU" sz="1200" spc="-10" dirty="0">
                <a:solidFill>
                  <a:srgbClr val="474747"/>
                </a:solidFill>
                <a:cs typeface="Arial" panose="020B0604020202020204" pitchFamily="34" charset="0"/>
              </a:rPr>
              <a:t>Генеральный Партнёр АО «Мострансавто»</a:t>
            </a:r>
          </a:p>
          <a:p>
            <a:pPr marL="12700" algn="ctr"/>
            <a:endParaRPr lang="ru-RU" sz="1200" spc="20" dirty="0">
              <a:solidFill>
                <a:srgbClr val="474747"/>
              </a:solidFill>
              <a:cs typeface="Arial" panose="020B0604020202020204" pitchFamily="34" charset="0"/>
            </a:endParaRPr>
          </a:p>
        </p:txBody>
      </p:sp>
      <p:sp>
        <p:nvSpPr>
          <p:cNvPr id="48" name="object 7">
            <a:extLst>
              <a:ext uri="{FF2B5EF4-FFF2-40B4-BE49-F238E27FC236}">
                <a16:creationId xmlns:a16="http://schemas.microsoft.com/office/drawing/2014/main" id="{E7AA0BF1-E544-402D-856E-4FF4721FCFB2}"/>
              </a:ext>
            </a:extLst>
          </p:cNvPr>
          <p:cNvSpPr txBox="1"/>
          <p:nvPr/>
        </p:nvSpPr>
        <p:spPr>
          <a:xfrm>
            <a:off x="6785386" y="5100812"/>
            <a:ext cx="1843812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algn="ctr"/>
            <a:r>
              <a:rPr lang="ru-RU" sz="1200" spc="-10" dirty="0">
                <a:solidFill>
                  <a:srgbClr val="474747"/>
                </a:solidFill>
                <a:cs typeface="Arial" panose="020B0604020202020204" pitchFamily="34" charset="0"/>
              </a:rPr>
              <a:t>проданных билетов</a:t>
            </a:r>
          </a:p>
          <a:p>
            <a:pPr marL="12700" algn="ctr"/>
            <a:endParaRPr lang="ru-RU" sz="1200" spc="20" dirty="0">
              <a:solidFill>
                <a:srgbClr val="474747"/>
              </a:solidFill>
              <a:cs typeface="Arial" panose="020B0604020202020204" pitchFamily="34" charset="0"/>
            </a:endParaRPr>
          </a:p>
        </p:txBody>
      </p:sp>
      <p:sp>
        <p:nvSpPr>
          <p:cNvPr id="50" name="object 7"/>
          <p:cNvSpPr txBox="1"/>
          <p:nvPr/>
        </p:nvSpPr>
        <p:spPr>
          <a:xfrm>
            <a:off x="9251918" y="5084317"/>
            <a:ext cx="2101118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algn="ctr"/>
            <a:r>
              <a:rPr lang="ru-RU" sz="1200" spc="-10" dirty="0">
                <a:solidFill>
                  <a:srgbClr val="474747"/>
                </a:solidFill>
                <a:cs typeface="Arial" panose="020B0604020202020204" pitchFamily="34" charset="0"/>
              </a:rPr>
              <a:t>организованных рейсов</a:t>
            </a:r>
          </a:p>
          <a:p>
            <a:pPr marL="12700" algn="ctr"/>
            <a:endParaRPr lang="ru-RU" sz="1200" spc="20" dirty="0">
              <a:solidFill>
                <a:srgbClr val="474747"/>
              </a:solidFill>
              <a:cs typeface="Arial" panose="020B0604020202020204" pitchFamily="34" charset="0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 flipV="1">
            <a:off x="-100361" y="3423424"/>
            <a:ext cx="12411307" cy="22303"/>
          </a:xfrm>
          <a:prstGeom prst="line">
            <a:avLst/>
          </a:prstGeom>
          <a:ln w="12700" cmpd="sng">
            <a:solidFill>
              <a:srgbClr val="F40000"/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1383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78A47423-DBCE-473A-A5B9-1D0504AA1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8" imgH="499" progId="TCLayout.ActiveDocument.1">
                  <p:embed/>
                </p:oleObj>
              </mc:Choice>
              <mc:Fallback>
                <p:oleObj name="Слайд think-cell" r:id="rId3" imgW="498" imgH="499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78A47423-DBCE-473A-A5B9-1D0504AA1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Рисунок 4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7"/>
            <a:ext cx="12192000" cy="1075585"/>
          </a:xfrm>
          <a:prstGeom prst="rect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</p:pic>
      <p:sp>
        <p:nvSpPr>
          <p:cNvPr id="51" name="Rectangle 13"/>
          <p:cNvSpPr>
            <a:spLocks/>
          </p:cNvSpPr>
          <p:nvPr/>
        </p:nvSpPr>
        <p:spPr bwMode="auto">
          <a:xfrm>
            <a:off x="1033271" y="-53282"/>
            <a:ext cx="10558653" cy="936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r>
              <a:rPr lang="ru-RU" sz="2400" b="1" dirty="0">
                <a:solidFill>
                  <a:schemeClr val="bg1"/>
                </a:solidFill>
                <a:latin typeface="+mj-lt"/>
                <a:cs typeface="Rubik Bold" panose="02000604000000020004" pitchFamily="2" charset="-79"/>
              </a:rPr>
              <a:t>Преимущества «ОднаКасса»</a:t>
            </a:r>
          </a:p>
        </p:txBody>
      </p:sp>
      <p:pic>
        <p:nvPicPr>
          <p:cNvPr id="16" name="Рисунок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6"/>
            <a:ext cx="1033272" cy="1148241"/>
          </a:xfrm>
          <a:prstGeom prst="rect">
            <a:avLst/>
          </a:prstGeom>
        </p:spPr>
      </p:pic>
      <p:graphicFrame>
        <p:nvGraphicFramePr>
          <p:cNvPr id="13" name="Таблица 7">
            <a:extLst>
              <a:ext uri="{FF2B5EF4-FFF2-40B4-BE49-F238E27FC236}">
                <a16:creationId xmlns:a16="http://schemas.microsoft.com/office/drawing/2014/main" id="{FEF705CB-63B5-4FE5-9CB6-DFB9A9BDCDC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57900402"/>
              </p:ext>
            </p:extLst>
          </p:nvPr>
        </p:nvGraphicFramePr>
        <p:xfrm>
          <a:off x="600075" y="1623048"/>
          <a:ext cx="10991849" cy="3509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3597">
                  <a:extLst>
                    <a:ext uri="{9D8B030D-6E8A-4147-A177-3AD203B41FA5}">
                      <a16:colId xmlns:a16="http://schemas.microsoft.com/office/drawing/2014/main" val="1319723529"/>
                    </a:ext>
                  </a:extLst>
                </a:gridCol>
                <a:gridCol w="3880673">
                  <a:extLst>
                    <a:ext uri="{9D8B030D-6E8A-4147-A177-3AD203B41FA5}">
                      <a16:colId xmlns:a16="http://schemas.microsoft.com/office/drawing/2014/main" val="3402600126"/>
                    </a:ext>
                  </a:extLst>
                </a:gridCol>
                <a:gridCol w="6467579">
                  <a:extLst>
                    <a:ext uri="{9D8B030D-6E8A-4147-A177-3AD203B41FA5}">
                      <a16:colId xmlns:a16="http://schemas.microsoft.com/office/drawing/2014/main" val="255505172"/>
                    </a:ext>
                  </a:extLst>
                </a:gridCol>
              </a:tblGrid>
              <a:tr h="877383">
                <a:tc>
                  <a:txBody>
                    <a:bodyPr/>
                    <a:lstStyle/>
                    <a:p>
                      <a:endParaRPr lang="ru-RU" sz="1400" b="1" kern="1200" dirty="0">
                        <a:solidFill>
                          <a:srgbClr val="47474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kern="1200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 в Едином реестре </a:t>
                      </a:r>
                      <a:r>
                        <a:rPr lang="ru-RU" sz="1400" b="1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сийских программ </a:t>
                      </a:r>
                      <a:endParaRPr lang="ru-RU" sz="1400" b="1" kern="1200" dirty="0">
                        <a:solidFill>
                          <a:srgbClr val="47474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kern="1200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граммное обеспечение ОднаКасса для автовокзалов включено в Единый реестр российских программ для ЭВМ и баз данных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5632485"/>
                  </a:ext>
                </a:extLst>
              </a:tr>
              <a:tr h="877383">
                <a:tc>
                  <a:txBody>
                    <a:bodyPr/>
                    <a:lstStyle/>
                    <a:p>
                      <a:endParaRPr lang="ru-RU" sz="1400" b="1" dirty="0">
                        <a:solidFill>
                          <a:srgbClr val="474747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ртнёр Федеральных проектов</a:t>
                      </a: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шение «ОднаКасса» используется в пилоте федерального проекта «Единая федеральная система мониторинга и контроля пассажирских перевозок автобусами»</a:t>
                      </a:r>
                      <a:endParaRPr lang="ru-RU" sz="1200" b="0" dirty="0">
                        <a:solidFill>
                          <a:srgbClr val="474747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3540880"/>
                  </a:ext>
                </a:extLst>
              </a:tr>
              <a:tr h="8773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solidFill>
                          <a:srgbClr val="474747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лексный подход</a:t>
                      </a: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вышение эффективности работы автовокзала путём объединения всех функций и процессов в единую информационную среду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8582702"/>
                  </a:ext>
                </a:extLst>
              </a:tr>
              <a:tr h="8773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solidFill>
                          <a:srgbClr val="474747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нцип «Автовокзал – бизнес-партнер»</a:t>
                      </a:r>
                    </a:p>
                  </a:txBody>
                  <a:tcPr marR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се инструменты «ОднаКасса» направлены на снижение расходов, рост выручки и поддержку бизнеса Автовокзала*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C292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8751325"/>
                  </a:ext>
                </a:extLst>
              </a:tr>
            </a:tbl>
          </a:graphicData>
        </a:graphic>
      </p:graphicFrame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1A468F5A-79BD-4233-9EC8-A8F8582EE980}"/>
              </a:ext>
            </a:extLst>
          </p:cNvPr>
          <p:cNvGrpSpPr/>
          <p:nvPr/>
        </p:nvGrpSpPr>
        <p:grpSpPr>
          <a:xfrm>
            <a:off x="652180" y="2691355"/>
            <a:ext cx="500857" cy="497629"/>
            <a:chOff x="6368911" y="3572822"/>
            <a:chExt cx="500857" cy="497629"/>
          </a:xfrm>
          <a:solidFill>
            <a:srgbClr val="ED1B2F"/>
          </a:solidFill>
        </p:grpSpPr>
        <p:sp>
          <p:nvSpPr>
            <p:cNvPr id="15" name="object 5">
              <a:extLst>
                <a:ext uri="{FF2B5EF4-FFF2-40B4-BE49-F238E27FC236}">
                  <a16:creationId xmlns:a16="http://schemas.microsoft.com/office/drawing/2014/main" id="{D8128899-0C2D-4695-B73E-F8704CC78DC4}"/>
                </a:ext>
              </a:extLst>
            </p:cNvPr>
            <p:cNvSpPr/>
            <p:nvPr/>
          </p:nvSpPr>
          <p:spPr>
            <a:xfrm>
              <a:off x="6592592" y="3572822"/>
              <a:ext cx="52456" cy="54928"/>
            </a:xfrm>
            <a:custGeom>
              <a:avLst/>
              <a:gdLst/>
              <a:ahLst/>
              <a:cxnLst/>
              <a:rect l="l" t="t" r="r" b="b"/>
              <a:pathLst>
                <a:path w="66040" h="62864">
                  <a:moveTo>
                    <a:pt x="35517" y="52"/>
                  </a:moveTo>
                  <a:lnTo>
                    <a:pt x="30679" y="0"/>
                  </a:lnTo>
                  <a:lnTo>
                    <a:pt x="23611" y="20910"/>
                  </a:lnTo>
                  <a:lnTo>
                    <a:pt x="1539" y="20659"/>
                  </a:lnTo>
                  <a:lnTo>
                    <a:pt x="0" y="25234"/>
                  </a:lnTo>
                  <a:lnTo>
                    <a:pt x="17706" y="38417"/>
                  </a:lnTo>
                  <a:lnTo>
                    <a:pt x="10627" y="59338"/>
                  </a:lnTo>
                  <a:lnTo>
                    <a:pt x="14512" y="62218"/>
                  </a:lnTo>
                  <a:lnTo>
                    <a:pt x="32522" y="49453"/>
                  </a:lnTo>
                  <a:lnTo>
                    <a:pt x="50228" y="62636"/>
                  </a:lnTo>
                  <a:lnTo>
                    <a:pt x="54176" y="59841"/>
                  </a:lnTo>
                  <a:lnTo>
                    <a:pt x="47590" y="38773"/>
                  </a:lnTo>
                  <a:lnTo>
                    <a:pt x="65610" y="25999"/>
                  </a:lnTo>
                  <a:lnTo>
                    <a:pt x="64165" y="21392"/>
                  </a:lnTo>
                  <a:lnTo>
                    <a:pt x="42092" y="21130"/>
                  </a:lnTo>
                  <a:lnTo>
                    <a:pt x="35517" y="5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7" name="object 7">
              <a:extLst>
                <a:ext uri="{FF2B5EF4-FFF2-40B4-BE49-F238E27FC236}">
                  <a16:creationId xmlns:a16="http://schemas.microsoft.com/office/drawing/2014/main" id="{77E85707-834A-45CA-826E-1461CA0F0E60}"/>
                </a:ext>
              </a:extLst>
            </p:cNvPr>
            <p:cNvSpPr/>
            <p:nvPr/>
          </p:nvSpPr>
          <p:spPr>
            <a:xfrm>
              <a:off x="6368911" y="3611055"/>
              <a:ext cx="500857" cy="459396"/>
            </a:xfrm>
            <a:custGeom>
              <a:avLst/>
              <a:gdLst/>
              <a:ahLst/>
              <a:cxnLst/>
              <a:rect l="l" t="t" r="r" b="b"/>
              <a:pathLst>
                <a:path w="630555" h="525779">
                  <a:moveTo>
                    <a:pt x="626692" y="509270"/>
                  </a:moveTo>
                  <a:lnTo>
                    <a:pt x="3769" y="509270"/>
                  </a:lnTo>
                  <a:lnTo>
                    <a:pt x="0" y="513080"/>
                  </a:lnTo>
                  <a:lnTo>
                    <a:pt x="0" y="523240"/>
                  </a:lnTo>
                  <a:lnTo>
                    <a:pt x="3769" y="525780"/>
                  </a:lnTo>
                  <a:lnTo>
                    <a:pt x="626692" y="525780"/>
                  </a:lnTo>
                  <a:lnTo>
                    <a:pt x="630452" y="523240"/>
                  </a:lnTo>
                  <a:lnTo>
                    <a:pt x="630452" y="513080"/>
                  </a:lnTo>
                  <a:lnTo>
                    <a:pt x="626692" y="509270"/>
                  </a:lnTo>
                  <a:close/>
                </a:path>
                <a:path w="630555" h="525779">
                  <a:moveTo>
                    <a:pt x="41171" y="377190"/>
                  </a:moveTo>
                  <a:lnTo>
                    <a:pt x="37977" y="377190"/>
                  </a:lnTo>
                  <a:lnTo>
                    <a:pt x="32826" y="381000"/>
                  </a:lnTo>
                  <a:lnTo>
                    <a:pt x="31234" y="383540"/>
                  </a:lnTo>
                  <a:lnTo>
                    <a:pt x="31234" y="509270"/>
                  </a:lnTo>
                  <a:lnTo>
                    <a:pt x="48061" y="509270"/>
                  </a:lnTo>
                  <a:lnTo>
                    <a:pt x="48061" y="400050"/>
                  </a:lnTo>
                  <a:lnTo>
                    <a:pt x="85055" y="400050"/>
                  </a:lnTo>
                  <a:lnTo>
                    <a:pt x="85055" y="387350"/>
                  </a:lnTo>
                  <a:lnTo>
                    <a:pt x="57841" y="387350"/>
                  </a:lnTo>
                  <a:lnTo>
                    <a:pt x="41171" y="377190"/>
                  </a:lnTo>
                  <a:close/>
                </a:path>
                <a:path w="630555" h="525779">
                  <a:moveTo>
                    <a:pt x="203962" y="398780"/>
                  </a:moveTo>
                  <a:lnTo>
                    <a:pt x="187146" y="398780"/>
                  </a:lnTo>
                  <a:lnTo>
                    <a:pt x="187146" y="427990"/>
                  </a:lnTo>
                  <a:lnTo>
                    <a:pt x="190905" y="431800"/>
                  </a:lnTo>
                  <a:lnTo>
                    <a:pt x="214391" y="431800"/>
                  </a:lnTo>
                  <a:lnTo>
                    <a:pt x="214391" y="509270"/>
                  </a:lnTo>
                  <a:lnTo>
                    <a:pt x="231207" y="509270"/>
                  </a:lnTo>
                  <a:lnTo>
                    <a:pt x="231207" y="415290"/>
                  </a:lnTo>
                  <a:lnTo>
                    <a:pt x="203962" y="415290"/>
                  </a:lnTo>
                  <a:lnTo>
                    <a:pt x="203962" y="398780"/>
                  </a:lnTo>
                  <a:close/>
                </a:path>
                <a:path w="630555" h="525779">
                  <a:moveTo>
                    <a:pt x="314660" y="429260"/>
                  </a:moveTo>
                  <a:lnTo>
                    <a:pt x="297220" y="431800"/>
                  </a:lnTo>
                  <a:lnTo>
                    <a:pt x="282967" y="441960"/>
                  </a:lnTo>
                  <a:lnTo>
                    <a:pt x="273351" y="455930"/>
                  </a:lnTo>
                  <a:lnTo>
                    <a:pt x="269824" y="473710"/>
                  </a:lnTo>
                  <a:lnTo>
                    <a:pt x="269824" y="509270"/>
                  </a:lnTo>
                  <a:lnTo>
                    <a:pt x="286640" y="509270"/>
                  </a:lnTo>
                  <a:lnTo>
                    <a:pt x="286640" y="473710"/>
                  </a:lnTo>
                  <a:lnTo>
                    <a:pt x="288845" y="462280"/>
                  </a:lnTo>
                  <a:lnTo>
                    <a:pt x="294854" y="453390"/>
                  </a:lnTo>
                  <a:lnTo>
                    <a:pt x="303762" y="448310"/>
                  </a:lnTo>
                  <a:lnTo>
                    <a:pt x="314660" y="445770"/>
                  </a:lnTo>
                  <a:lnTo>
                    <a:pt x="348972" y="445770"/>
                  </a:lnTo>
                  <a:lnTo>
                    <a:pt x="346349" y="441960"/>
                  </a:lnTo>
                  <a:lnTo>
                    <a:pt x="332095" y="431800"/>
                  </a:lnTo>
                  <a:lnTo>
                    <a:pt x="314660" y="429260"/>
                  </a:lnTo>
                  <a:close/>
                </a:path>
                <a:path w="630555" h="525779">
                  <a:moveTo>
                    <a:pt x="348972" y="445770"/>
                  </a:moveTo>
                  <a:lnTo>
                    <a:pt x="314660" y="445770"/>
                  </a:lnTo>
                  <a:lnTo>
                    <a:pt x="325554" y="448310"/>
                  </a:lnTo>
                  <a:lnTo>
                    <a:pt x="334462" y="453390"/>
                  </a:lnTo>
                  <a:lnTo>
                    <a:pt x="340474" y="462280"/>
                  </a:lnTo>
                  <a:lnTo>
                    <a:pt x="342680" y="473710"/>
                  </a:lnTo>
                  <a:lnTo>
                    <a:pt x="342680" y="509270"/>
                  </a:lnTo>
                  <a:lnTo>
                    <a:pt x="359496" y="509270"/>
                  </a:lnTo>
                  <a:lnTo>
                    <a:pt x="359496" y="473710"/>
                  </a:lnTo>
                  <a:lnTo>
                    <a:pt x="355967" y="455930"/>
                  </a:lnTo>
                  <a:lnTo>
                    <a:pt x="348972" y="445770"/>
                  </a:lnTo>
                  <a:close/>
                </a:path>
                <a:path w="630555" h="525779">
                  <a:moveTo>
                    <a:pt x="416437" y="388620"/>
                  </a:moveTo>
                  <a:lnTo>
                    <a:pt x="399610" y="388620"/>
                  </a:lnTo>
                  <a:lnTo>
                    <a:pt x="399610" y="509270"/>
                  </a:lnTo>
                  <a:lnTo>
                    <a:pt x="416437" y="509270"/>
                  </a:lnTo>
                  <a:lnTo>
                    <a:pt x="416437" y="431800"/>
                  </a:lnTo>
                  <a:lnTo>
                    <a:pt x="441798" y="431800"/>
                  </a:lnTo>
                  <a:lnTo>
                    <a:pt x="445578" y="427990"/>
                  </a:lnTo>
                  <a:lnTo>
                    <a:pt x="445578" y="415290"/>
                  </a:lnTo>
                  <a:lnTo>
                    <a:pt x="416437" y="415290"/>
                  </a:lnTo>
                  <a:lnTo>
                    <a:pt x="416437" y="388620"/>
                  </a:lnTo>
                  <a:close/>
                </a:path>
                <a:path w="630555" h="525779">
                  <a:moveTo>
                    <a:pt x="601479" y="400050"/>
                  </a:moveTo>
                  <a:lnTo>
                    <a:pt x="584662" y="400050"/>
                  </a:lnTo>
                  <a:lnTo>
                    <a:pt x="584662" y="509270"/>
                  </a:lnTo>
                  <a:lnTo>
                    <a:pt x="601479" y="509270"/>
                  </a:lnTo>
                  <a:lnTo>
                    <a:pt x="601479" y="400050"/>
                  </a:lnTo>
                  <a:close/>
                </a:path>
                <a:path w="630555" h="525779">
                  <a:moveTo>
                    <a:pt x="85055" y="400050"/>
                  </a:moveTo>
                  <a:lnTo>
                    <a:pt x="68238" y="400050"/>
                  </a:lnTo>
                  <a:lnTo>
                    <a:pt x="68238" y="427990"/>
                  </a:lnTo>
                  <a:lnTo>
                    <a:pt x="71997" y="431800"/>
                  </a:lnTo>
                  <a:lnTo>
                    <a:pt x="106583" y="431800"/>
                  </a:lnTo>
                  <a:lnTo>
                    <a:pt x="110342" y="427990"/>
                  </a:lnTo>
                  <a:lnTo>
                    <a:pt x="110342" y="415290"/>
                  </a:lnTo>
                  <a:lnTo>
                    <a:pt x="85055" y="415290"/>
                  </a:lnTo>
                  <a:lnTo>
                    <a:pt x="85055" y="400050"/>
                  </a:lnTo>
                  <a:close/>
                </a:path>
                <a:path w="630555" h="525779">
                  <a:moveTo>
                    <a:pt x="145461" y="400050"/>
                  </a:moveTo>
                  <a:lnTo>
                    <a:pt x="128634" y="400050"/>
                  </a:lnTo>
                  <a:lnTo>
                    <a:pt x="128634" y="427990"/>
                  </a:lnTo>
                  <a:lnTo>
                    <a:pt x="132404" y="431800"/>
                  </a:lnTo>
                  <a:lnTo>
                    <a:pt x="169617" y="431800"/>
                  </a:lnTo>
                  <a:lnTo>
                    <a:pt x="173387" y="427990"/>
                  </a:lnTo>
                  <a:lnTo>
                    <a:pt x="173387" y="415290"/>
                  </a:lnTo>
                  <a:lnTo>
                    <a:pt x="145461" y="415290"/>
                  </a:lnTo>
                  <a:lnTo>
                    <a:pt x="145461" y="400050"/>
                  </a:lnTo>
                  <a:close/>
                </a:path>
                <a:path w="630555" h="525779">
                  <a:moveTo>
                    <a:pt x="476153" y="398780"/>
                  </a:moveTo>
                  <a:lnTo>
                    <a:pt x="459326" y="398780"/>
                  </a:lnTo>
                  <a:lnTo>
                    <a:pt x="459326" y="427990"/>
                  </a:lnTo>
                  <a:lnTo>
                    <a:pt x="463095" y="431800"/>
                  </a:lnTo>
                  <a:lnTo>
                    <a:pt x="500319" y="431800"/>
                  </a:lnTo>
                  <a:lnTo>
                    <a:pt x="504089" y="427990"/>
                  </a:lnTo>
                  <a:lnTo>
                    <a:pt x="504089" y="415290"/>
                  </a:lnTo>
                  <a:lnTo>
                    <a:pt x="476153" y="415290"/>
                  </a:lnTo>
                  <a:lnTo>
                    <a:pt x="476153" y="398780"/>
                  </a:lnTo>
                  <a:close/>
                </a:path>
                <a:path w="630555" h="525779">
                  <a:moveTo>
                    <a:pt x="539187" y="400050"/>
                  </a:moveTo>
                  <a:lnTo>
                    <a:pt x="522371" y="400050"/>
                  </a:lnTo>
                  <a:lnTo>
                    <a:pt x="522371" y="427990"/>
                  </a:lnTo>
                  <a:lnTo>
                    <a:pt x="526141" y="431800"/>
                  </a:lnTo>
                  <a:lnTo>
                    <a:pt x="560726" y="431800"/>
                  </a:lnTo>
                  <a:lnTo>
                    <a:pt x="564485" y="427990"/>
                  </a:lnTo>
                  <a:lnTo>
                    <a:pt x="564485" y="415290"/>
                  </a:lnTo>
                  <a:lnTo>
                    <a:pt x="539187" y="415290"/>
                  </a:lnTo>
                  <a:lnTo>
                    <a:pt x="539187" y="400050"/>
                  </a:lnTo>
                  <a:close/>
                </a:path>
                <a:path w="630555" h="525779">
                  <a:moveTo>
                    <a:pt x="103284" y="377190"/>
                  </a:moveTo>
                  <a:lnTo>
                    <a:pt x="100143" y="377190"/>
                  </a:lnTo>
                  <a:lnTo>
                    <a:pt x="95075" y="381000"/>
                  </a:lnTo>
                  <a:lnTo>
                    <a:pt x="93525" y="383540"/>
                  </a:lnTo>
                  <a:lnTo>
                    <a:pt x="93525" y="415290"/>
                  </a:lnTo>
                  <a:lnTo>
                    <a:pt x="110342" y="415290"/>
                  </a:lnTo>
                  <a:lnTo>
                    <a:pt x="110342" y="400050"/>
                  </a:lnTo>
                  <a:lnTo>
                    <a:pt x="145461" y="400050"/>
                  </a:lnTo>
                  <a:lnTo>
                    <a:pt x="145461" y="386080"/>
                  </a:lnTo>
                  <a:lnTo>
                    <a:pt x="119043" y="386080"/>
                  </a:lnTo>
                  <a:lnTo>
                    <a:pt x="103284" y="377190"/>
                  </a:lnTo>
                  <a:close/>
                </a:path>
                <a:path w="630555" h="525779">
                  <a:moveTo>
                    <a:pt x="165722" y="377190"/>
                  </a:moveTo>
                  <a:lnTo>
                    <a:pt x="162728" y="377190"/>
                  </a:lnTo>
                  <a:lnTo>
                    <a:pt x="157995" y="381000"/>
                  </a:lnTo>
                  <a:lnTo>
                    <a:pt x="156560" y="383540"/>
                  </a:lnTo>
                  <a:lnTo>
                    <a:pt x="156560" y="415290"/>
                  </a:lnTo>
                  <a:lnTo>
                    <a:pt x="173387" y="415290"/>
                  </a:lnTo>
                  <a:lnTo>
                    <a:pt x="173387" y="398780"/>
                  </a:lnTo>
                  <a:lnTo>
                    <a:pt x="203962" y="398780"/>
                  </a:lnTo>
                  <a:lnTo>
                    <a:pt x="203962" y="383540"/>
                  </a:lnTo>
                  <a:lnTo>
                    <a:pt x="179523" y="383540"/>
                  </a:lnTo>
                  <a:lnTo>
                    <a:pt x="165722" y="377190"/>
                  </a:lnTo>
                  <a:close/>
                </a:path>
                <a:path w="630555" h="525779">
                  <a:moveTo>
                    <a:pt x="227448" y="283210"/>
                  </a:moveTo>
                  <a:lnTo>
                    <a:pt x="218160" y="283210"/>
                  </a:lnTo>
                  <a:lnTo>
                    <a:pt x="214391" y="287020"/>
                  </a:lnTo>
                  <a:lnTo>
                    <a:pt x="214391" y="415290"/>
                  </a:lnTo>
                  <a:lnTo>
                    <a:pt x="231207" y="415290"/>
                  </a:lnTo>
                  <a:lnTo>
                    <a:pt x="231207" y="388620"/>
                  </a:lnTo>
                  <a:lnTo>
                    <a:pt x="416437" y="388620"/>
                  </a:lnTo>
                  <a:lnTo>
                    <a:pt x="416437" y="372110"/>
                  </a:lnTo>
                  <a:lnTo>
                    <a:pt x="231207" y="372110"/>
                  </a:lnTo>
                  <a:lnTo>
                    <a:pt x="231207" y="327660"/>
                  </a:lnTo>
                  <a:lnTo>
                    <a:pt x="303763" y="327660"/>
                  </a:lnTo>
                  <a:lnTo>
                    <a:pt x="314660" y="318770"/>
                  </a:lnTo>
                  <a:lnTo>
                    <a:pt x="416437" y="318770"/>
                  </a:lnTo>
                  <a:lnTo>
                    <a:pt x="416437" y="311150"/>
                  </a:lnTo>
                  <a:lnTo>
                    <a:pt x="231207" y="311150"/>
                  </a:lnTo>
                  <a:lnTo>
                    <a:pt x="231207" y="287020"/>
                  </a:lnTo>
                  <a:lnTo>
                    <a:pt x="227448" y="283210"/>
                  </a:lnTo>
                  <a:close/>
                </a:path>
                <a:path w="630555" h="525779">
                  <a:moveTo>
                    <a:pt x="437588" y="377190"/>
                  </a:moveTo>
                  <a:lnTo>
                    <a:pt x="434688" y="377190"/>
                  </a:lnTo>
                  <a:lnTo>
                    <a:pt x="430112" y="381000"/>
                  </a:lnTo>
                  <a:lnTo>
                    <a:pt x="428751" y="383540"/>
                  </a:lnTo>
                  <a:lnTo>
                    <a:pt x="428751" y="415290"/>
                  </a:lnTo>
                  <a:lnTo>
                    <a:pt x="445578" y="415290"/>
                  </a:lnTo>
                  <a:lnTo>
                    <a:pt x="445578" y="398780"/>
                  </a:lnTo>
                  <a:lnTo>
                    <a:pt x="476153" y="398780"/>
                  </a:lnTo>
                  <a:lnTo>
                    <a:pt x="476153" y="383540"/>
                  </a:lnTo>
                  <a:lnTo>
                    <a:pt x="453190" y="383540"/>
                  </a:lnTo>
                  <a:lnTo>
                    <a:pt x="437588" y="377190"/>
                  </a:lnTo>
                  <a:close/>
                </a:path>
                <a:path w="630555" h="525779">
                  <a:moveTo>
                    <a:pt x="496822" y="377190"/>
                  </a:moveTo>
                  <a:lnTo>
                    <a:pt x="493723" y="377190"/>
                  </a:lnTo>
                  <a:lnTo>
                    <a:pt x="488780" y="381000"/>
                  </a:lnTo>
                  <a:lnTo>
                    <a:pt x="487262" y="383540"/>
                  </a:lnTo>
                  <a:lnTo>
                    <a:pt x="487262" y="415290"/>
                  </a:lnTo>
                  <a:lnTo>
                    <a:pt x="504089" y="415290"/>
                  </a:lnTo>
                  <a:lnTo>
                    <a:pt x="504089" y="400050"/>
                  </a:lnTo>
                  <a:lnTo>
                    <a:pt x="539187" y="400050"/>
                  </a:lnTo>
                  <a:lnTo>
                    <a:pt x="539187" y="386080"/>
                  </a:lnTo>
                  <a:lnTo>
                    <a:pt x="513670" y="386080"/>
                  </a:lnTo>
                  <a:lnTo>
                    <a:pt x="496822" y="377190"/>
                  </a:lnTo>
                  <a:close/>
                </a:path>
                <a:path w="630555" h="525779">
                  <a:moveTo>
                    <a:pt x="557459" y="377190"/>
                  </a:moveTo>
                  <a:lnTo>
                    <a:pt x="554307" y="377190"/>
                  </a:lnTo>
                  <a:lnTo>
                    <a:pt x="549218" y="381000"/>
                  </a:lnTo>
                  <a:lnTo>
                    <a:pt x="547669" y="383540"/>
                  </a:lnTo>
                  <a:lnTo>
                    <a:pt x="547669" y="415290"/>
                  </a:lnTo>
                  <a:lnTo>
                    <a:pt x="564485" y="415290"/>
                  </a:lnTo>
                  <a:lnTo>
                    <a:pt x="564485" y="400050"/>
                  </a:lnTo>
                  <a:lnTo>
                    <a:pt x="601479" y="400050"/>
                  </a:lnTo>
                  <a:lnTo>
                    <a:pt x="601479" y="387350"/>
                  </a:lnTo>
                  <a:lnTo>
                    <a:pt x="574862" y="387350"/>
                  </a:lnTo>
                  <a:lnTo>
                    <a:pt x="557459" y="377190"/>
                  </a:lnTo>
                  <a:close/>
                </a:path>
                <a:path w="630555" h="525779">
                  <a:moveTo>
                    <a:pt x="359496" y="388620"/>
                  </a:moveTo>
                  <a:lnTo>
                    <a:pt x="342680" y="388620"/>
                  </a:lnTo>
                  <a:lnTo>
                    <a:pt x="342680" y="407670"/>
                  </a:lnTo>
                  <a:lnTo>
                    <a:pt x="346439" y="411480"/>
                  </a:lnTo>
                  <a:lnTo>
                    <a:pt x="355737" y="411480"/>
                  </a:lnTo>
                  <a:lnTo>
                    <a:pt x="359496" y="407670"/>
                  </a:lnTo>
                  <a:lnTo>
                    <a:pt x="359496" y="388620"/>
                  </a:lnTo>
                  <a:close/>
                </a:path>
                <a:path w="630555" h="525779">
                  <a:moveTo>
                    <a:pt x="286640" y="388620"/>
                  </a:moveTo>
                  <a:lnTo>
                    <a:pt x="269824" y="388620"/>
                  </a:lnTo>
                  <a:lnTo>
                    <a:pt x="269824" y="406400"/>
                  </a:lnTo>
                  <a:lnTo>
                    <a:pt x="273583" y="410210"/>
                  </a:lnTo>
                  <a:lnTo>
                    <a:pt x="282881" y="410210"/>
                  </a:lnTo>
                  <a:lnTo>
                    <a:pt x="286640" y="406400"/>
                  </a:lnTo>
                  <a:lnTo>
                    <a:pt x="286640" y="388620"/>
                  </a:lnTo>
                  <a:close/>
                </a:path>
                <a:path w="630555" h="525779">
                  <a:moveTo>
                    <a:pt x="322723" y="388620"/>
                  </a:moveTo>
                  <a:lnTo>
                    <a:pt x="305906" y="388620"/>
                  </a:lnTo>
                  <a:lnTo>
                    <a:pt x="305906" y="406400"/>
                  </a:lnTo>
                  <a:lnTo>
                    <a:pt x="309665" y="410210"/>
                  </a:lnTo>
                  <a:lnTo>
                    <a:pt x="318964" y="410210"/>
                  </a:lnTo>
                  <a:lnTo>
                    <a:pt x="322723" y="406400"/>
                  </a:lnTo>
                  <a:lnTo>
                    <a:pt x="322723" y="388620"/>
                  </a:lnTo>
                  <a:close/>
                </a:path>
                <a:path w="630555" h="525779">
                  <a:moveTo>
                    <a:pt x="68238" y="400050"/>
                  </a:moveTo>
                  <a:lnTo>
                    <a:pt x="48061" y="400050"/>
                  </a:lnTo>
                  <a:lnTo>
                    <a:pt x="53642" y="403860"/>
                  </a:lnTo>
                  <a:lnTo>
                    <a:pt x="56155" y="405130"/>
                  </a:lnTo>
                  <a:lnTo>
                    <a:pt x="59223" y="405130"/>
                  </a:lnTo>
                  <a:lnTo>
                    <a:pt x="68238" y="400050"/>
                  </a:lnTo>
                  <a:close/>
                </a:path>
                <a:path w="630555" h="525779">
                  <a:moveTo>
                    <a:pt x="584662" y="400050"/>
                  </a:moveTo>
                  <a:lnTo>
                    <a:pt x="564485" y="400050"/>
                  </a:lnTo>
                  <a:lnTo>
                    <a:pt x="573500" y="405130"/>
                  </a:lnTo>
                  <a:lnTo>
                    <a:pt x="576558" y="405130"/>
                  </a:lnTo>
                  <a:lnTo>
                    <a:pt x="584662" y="400050"/>
                  </a:lnTo>
                  <a:close/>
                </a:path>
                <a:path w="630555" h="525779">
                  <a:moveTo>
                    <a:pt x="128634" y="400050"/>
                  </a:moveTo>
                  <a:lnTo>
                    <a:pt x="110342" y="400050"/>
                  </a:lnTo>
                  <a:lnTo>
                    <a:pt x="117368" y="403860"/>
                  </a:lnTo>
                  <a:lnTo>
                    <a:pt x="120247" y="403860"/>
                  </a:lnTo>
                  <a:lnTo>
                    <a:pt x="128634" y="400050"/>
                  </a:lnTo>
                  <a:close/>
                </a:path>
                <a:path w="630555" h="525779">
                  <a:moveTo>
                    <a:pt x="522371" y="400050"/>
                  </a:moveTo>
                  <a:lnTo>
                    <a:pt x="504089" y="400050"/>
                  </a:lnTo>
                  <a:lnTo>
                    <a:pt x="512466" y="403860"/>
                  </a:lnTo>
                  <a:lnTo>
                    <a:pt x="515345" y="403860"/>
                  </a:lnTo>
                  <a:lnTo>
                    <a:pt x="522371" y="400050"/>
                  </a:lnTo>
                  <a:close/>
                </a:path>
                <a:path w="630555" h="525779">
                  <a:moveTo>
                    <a:pt x="187146" y="398780"/>
                  </a:moveTo>
                  <a:lnTo>
                    <a:pt x="173387" y="398780"/>
                  </a:lnTo>
                  <a:lnTo>
                    <a:pt x="177994" y="401320"/>
                  </a:lnTo>
                  <a:lnTo>
                    <a:pt x="180287" y="401320"/>
                  </a:lnTo>
                  <a:lnTo>
                    <a:pt x="187146" y="398780"/>
                  </a:lnTo>
                  <a:close/>
                </a:path>
                <a:path w="630555" h="525779">
                  <a:moveTo>
                    <a:pt x="459326" y="398780"/>
                  </a:moveTo>
                  <a:lnTo>
                    <a:pt x="445578" y="398780"/>
                  </a:lnTo>
                  <a:lnTo>
                    <a:pt x="452436" y="401320"/>
                  </a:lnTo>
                  <a:lnTo>
                    <a:pt x="454719" y="401320"/>
                  </a:lnTo>
                  <a:lnTo>
                    <a:pt x="459326" y="398780"/>
                  </a:lnTo>
                  <a:close/>
                </a:path>
                <a:path w="630555" h="525779">
                  <a:moveTo>
                    <a:pt x="78405" y="377190"/>
                  </a:moveTo>
                  <a:lnTo>
                    <a:pt x="75254" y="377190"/>
                  </a:lnTo>
                  <a:lnTo>
                    <a:pt x="57841" y="387350"/>
                  </a:lnTo>
                  <a:lnTo>
                    <a:pt x="85055" y="387350"/>
                  </a:lnTo>
                  <a:lnTo>
                    <a:pt x="85055" y="383540"/>
                  </a:lnTo>
                  <a:lnTo>
                    <a:pt x="83494" y="381000"/>
                  </a:lnTo>
                  <a:lnTo>
                    <a:pt x="78405" y="377190"/>
                  </a:lnTo>
                  <a:close/>
                </a:path>
                <a:path w="630555" h="525779">
                  <a:moveTo>
                    <a:pt x="594735" y="377190"/>
                  </a:moveTo>
                  <a:lnTo>
                    <a:pt x="591542" y="377190"/>
                  </a:lnTo>
                  <a:lnTo>
                    <a:pt x="574862" y="387350"/>
                  </a:lnTo>
                  <a:lnTo>
                    <a:pt x="601479" y="387350"/>
                  </a:lnTo>
                  <a:lnTo>
                    <a:pt x="601479" y="383540"/>
                  </a:lnTo>
                  <a:lnTo>
                    <a:pt x="599897" y="381000"/>
                  </a:lnTo>
                  <a:lnTo>
                    <a:pt x="594735" y="377190"/>
                  </a:lnTo>
                  <a:close/>
                </a:path>
                <a:path w="630555" h="525779">
                  <a:moveTo>
                    <a:pt x="138990" y="377190"/>
                  </a:moveTo>
                  <a:lnTo>
                    <a:pt x="135901" y="377190"/>
                  </a:lnTo>
                  <a:lnTo>
                    <a:pt x="133283" y="378460"/>
                  </a:lnTo>
                  <a:lnTo>
                    <a:pt x="119043" y="386080"/>
                  </a:lnTo>
                  <a:lnTo>
                    <a:pt x="145461" y="386080"/>
                  </a:lnTo>
                  <a:lnTo>
                    <a:pt x="145461" y="383540"/>
                  </a:lnTo>
                  <a:lnTo>
                    <a:pt x="143943" y="381000"/>
                  </a:lnTo>
                  <a:lnTo>
                    <a:pt x="138990" y="377190"/>
                  </a:lnTo>
                  <a:close/>
                </a:path>
                <a:path w="630555" h="525779">
                  <a:moveTo>
                    <a:pt x="532570" y="377190"/>
                  </a:moveTo>
                  <a:lnTo>
                    <a:pt x="529428" y="377190"/>
                  </a:lnTo>
                  <a:lnTo>
                    <a:pt x="513670" y="386080"/>
                  </a:lnTo>
                  <a:lnTo>
                    <a:pt x="539187" y="386080"/>
                  </a:lnTo>
                  <a:lnTo>
                    <a:pt x="539187" y="383540"/>
                  </a:lnTo>
                  <a:lnTo>
                    <a:pt x="537648" y="381000"/>
                  </a:lnTo>
                  <a:lnTo>
                    <a:pt x="532570" y="377190"/>
                  </a:lnTo>
                  <a:close/>
                </a:path>
                <a:path w="630555" h="525779">
                  <a:moveTo>
                    <a:pt x="198035" y="377190"/>
                  </a:moveTo>
                  <a:lnTo>
                    <a:pt x="195135" y="377190"/>
                  </a:lnTo>
                  <a:lnTo>
                    <a:pt x="179523" y="383540"/>
                  </a:lnTo>
                  <a:lnTo>
                    <a:pt x="203962" y="383540"/>
                  </a:lnTo>
                  <a:lnTo>
                    <a:pt x="202611" y="381000"/>
                  </a:lnTo>
                  <a:lnTo>
                    <a:pt x="198035" y="377190"/>
                  </a:lnTo>
                  <a:close/>
                </a:path>
                <a:path w="630555" h="525779">
                  <a:moveTo>
                    <a:pt x="469975" y="377190"/>
                  </a:moveTo>
                  <a:lnTo>
                    <a:pt x="466991" y="377190"/>
                  </a:lnTo>
                  <a:lnTo>
                    <a:pt x="453190" y="383540"/>
                  </a:lnTo>
                  <a:lnTo>
                    <a:pt x="476153" y="383540"/>
                  </a:lnTo>
                  <a:lnTo>
                    <a:pt x="474729" y="381000"/>
                  </a:lnTo>
                  <a:lnTo>
                    <a:pt x="469975" y="377190"/>
                  </a:lnTo>
                  <a:close/>
                </a:path>
                <a:path w="630555" h="525779">
                  <a:moveTo>
                    <a:pt x="303763" y="327660"/>
                  </a:moveTo>
                  <a:lnTo>
                    <a:pt x="277164" y="327660"/>
                  </a:lnTo>
                  <a:lnTo>
                    <a:pt x="270934" y="332740"/>
                  </a:lnTo>
                  <a:lnTo>
                    <a:pt x="269824" y="335280"/>
                  </a:lnTo>
                  <a:lnTo>
                    <a:pt x="269824" y="372110"/>
                  </a:lnTo>
                  <a:lnTo>
                    <a:pt x="286640" y="372110"/>
                  </a:lnTo>
                  <a:lnTo>
                    <a:pt x="286640" y="341630"/>
                  </a:lnTo>
                  <a:lnTo>
                    <a:pt x="303763" y="327660"/>
                  </a:lnTo>
                  <a:close/>
                </a:path>
                <a:path w="630555" h="525779">
                  <a:moveTo>
                    <a:pt x="416437" y="318770"/>
                  </a:moveTo>
                  <a:lnTo>
                    <a:pt x="314660" y="318770"/>
                  </a:lnTo>
                  <a:lnTo>
                    <a:pt x="342680" y="341630"/>
                  </a:lnTo>
                  <a:lnTo>
                    <a:pt x="342680" y="372110"/>
                  </a:lnTo>
                  <a:lnTo>
                    <a:pt x="359496" y="372110"/>
                  </a:lnTo>
                  <a:lnTo>
                    <a:pt x="359496" y="335280"/>
                  </a:lnTo>
                  <a:lnTo>
                    <a:pt x="358386" y="332740"/>
                  </a:lnTo>
                  <a:lnTo>
                    <a:pt x="352167" y="327660"/>
                  </a:lnTo>
                  <a:lnTo>
                    <a:pt x="416437" y="327660"/>
                  </a:lnTo>
                  <a:lnTo>
                    <a:pt x="416437" y="318770"/>
                  </a:lnTo>
                  <a:close/>
                </a:path>
                <a:path w="630555" h="525779">
                  <a:moveTo>
                    <a:pt x="416437" y="327660"/>
                  </a:moveTo>
                  <a:lnTo>
                    <a:pt x="399610" y="327660"/>
                  </a:lnTo>
                  <a:lnTo>
                    <a:pt x="399610" y="372110"/>
                  </a:lnTo>
                  <a:lnTo>
                    <a:pt x="416437" y="372110"/>
                  </a:lnTo>
                  <a:lnTo>
                    <a:pt x="416437" y="327660"/>
                  </a:lnTo>
                  <a:close/>
                </a:path>
                <a:path w="630555" h="525779">
                  <a:moveTo>
                    <a:pt x="256955" y="120650"/>
                  </a:moveTo>
                  <a:lnTo>
                    <a:pt x="247667" y="120650"/>
                  </a:lnTo>
                  <a:lnTo>
                    <a:pt x="243908" y="124460"/>
                  </a:lnTo>
                  <a:lnTo>
                    <a:pt x="243908" y="311150"/>
                  </a:lnTo>
                  <a:lnTo>
                    <a:pt x="260725" y="311150"/>
                  </a:lnTo>
                  <a:lnTo>
                    <a:pt x="260725" y="205740"/>
                  </a:lnTo>
                  <a:lnTo>
                    <a:pt x="386553" y="205740"/>
                  </a:lnTo>
                  <a:lnTo>
                    <a:pt x="386553" y="187960"/>
                  </a:lnTo>
                  <a:lnTo>
                    <a:pt x="260725" y="187960"/>
                  </a:lnTo>
                  <a:lnTo>
                    <a:pt x="260725" y="157480"/>
                  </a:lnTo>
                  <a:lnTo>
                    <a:pt x="386553" y="157480"/>
                  </a:lnTo>
                  <a:lnTo>
                    <a:pt x="386553" y="140970"/>
                  </a:lnTo>
                  <a:lnTo>
                    <a:pt x="260725" y="140970"/>
                  </a:lnTo>
                  <a:lnTo>
                    <a:pt x="260725" y="124460"/>
                  </a:lnTo>
                  <a:lnTo>
                    <a:pt x="256955" y="120650"/>
                  </a:lnTo>
                  <a:close/>
                </a:path>
                <a:path w="630555" h="525779">
                  <a:moveTo>
                    <a:pt x="316922" y="298450"/>
                  </a:moveTo>
                  <a:lnTo>
                    <a:pt x="312409" y="298450"/>
                  </a:lnTo>
                  <a:lnTo>
                    <a:pt x="297446" y="311150"/>
                  </a:lnTo>
                  <a:lnTo>
                    <a:pt x="331864" y="311150"/>
                  </a:lnTo>
                  <a:lnTo>
                    <a:pt x="316922" y="298450"/>
                  </a:lnTo>
                  <a:close/>
                </a:path>
                <a:path w="630555" h="525779">
                  <a:moveTo>
                    <a:pt x="386553" y="205740"/>
                  </a:moveTo>
                  <a:lnTo>
                    <a:pt x="369737" y="205740"/>
                  </a:lnTo>
                  <a:lnTo>
                    <a:pt x="369737" y="311150"/>
                  </a:lnTo>
                  <a:lnTo>
                    <a:pt x="386553" y="311150"/>
                  </a:lnTo>
                  <a:lnTo>
                    <a:pt x="386553" y="205740"/>
                  </a:lnTo>
                  <a:close/>
                </a:path>
                <a:path w="630555" h="525779">
                  <a:moveTo>
                    <a:pt x="412668" y="283210"/>
                  </a:moveTo>
                  <a:lnTo>
                    <a:pt x="403380" y="283210"/>
                  </a:lnTo>
                  <a:lnTo>
                    <a:pt x="399610" y="287020"/>
                  </a:lnTo>
                  <a:lnTo>
                    <a:pt x="399610" y="311150"/>
                  </a:lnTo>
                  <a:lnTo>
                    <a:pt x="416437" y="311150"/>
                  </a:lnTo>
                  <a:lnTo>
                    <a:pt x="416437" y="287020"/>
                  </a:lnTo>
                  <a:lnTo>
                    <a:pt x="412668" y="283210"/>
                  </a:lnTo>
                  <a:close/>
                </a:path>
                <a:path w="630555" h="525779">
                  <a:moveTo>
                    <a:pt x="328649" y="157480"/>
                  </a:moveTo>
                  <a:lnTo>
                    <a:pt x="302975" y="157480"/>
                  </a:lnTo>
                  <a:lnTo>
                    <a:pt x="293080" y="180340"/>
                  </a:lnTo>
                  <a:lnTo>
                    <a:pt x="292839" y="181610"/>
                  </a:lnTo>
                  <a:lnTo>
                    <a:pt x="292839" y="187960"/>
                  </a:lnTo>
                  <a:lnTo>
                    <a:pt x="309655" y="187960"/>
                  </a:lnTo>
                  <a:lnTo>
                    <a:pt x="309655" y="184150"/>
                  </a:lnTo>
                  <a:lnTo>
                    <a:pt x="315749" y="170180"/>
                  </a:lnTo>
                  <a:lnTo>
                    <a:pt x="333792" y="170180"/>
                  </a:lnTo>
                  <a:lnTo>
                    <a:pt x="328649" y="157480"/>
                  </a:lnTo>
                  <a:close/>
                </a:path>
                <a:path w="630555" h="525779">
                  <a:moveTo>
                    <a:pt x="333792" y="170180"/>
                  </a:moveTo>
                  <a:lnTo>
                    <a:pt x="315749" y="170180"/>
                  </a:lnTo>
                  <a:lnTo>
                    <a:pt x="320796" y="182880"/>
                  </a:lnTo>
                  <a:lnTo>
                    <a:pt x="320796" y="187960"/>
                  </a:lnTo>
                  <a:lnTo>
                    <a:pt x="337612" y="187960"/>
                  </a:lnTo>
                  <a:lnTo>
                    <a:pt x="337612" y="179070"/>
                  </a:lnTo>
                  <a:lnTo>
                    <a:pt x="337392" y="179070"/>
                  </a:lnTo>
                  <a:lnTo>
                    <a:pt x="333792" y="170180"/>
                  </a:lnTo>
                  <a:close/>
                </a:path>
                <a:path w="630555" h="525779">
                  <a:moveTo>
                    <a:pt x="386553" y="157480"/>
                  </a:moveTo>
                  <a:lnTo>
                    <a:pt x="369737" y="157480"/>
                  </a:lnTo>
                  <a:lnTo>
                    <a:pt x="369737" y="187960"/>
                  </a:lnTo>
                  <a:lnTo>
                    <a:pt x="386553" y="187960"/>
                  </a:lnTo>
                  <a:lnTo>
                    <a:pt x="386553" y="157480"/>
                  </a:lnTo>
                  <a:close/>
                </a:path>
                <a:path w="630555" h="525779">
                  <a:moveTo>
                    <a:pt x="318314" y="0"/>
                  </a:moveTo>
                  <a:lnTo>
                    <a:pt x="310733" y="0"/>
                  </a:lnTo>
                  <a:lnTo>
                    <a:pt x="307404" y="2540"/>
                  </a:lnTo>
                  <a:lnTo>
                    <a:pt x="269656" y="140970"/>
                  </a:lnTo>
                  <a:lnTo>
                    <a:pt x="287080" y="140970"/>
                  </a:lnTo>
                  <a:lnTo>
                    <a:pt x="314524" y="40640"/>
                  </a:lnTo>
                  <a:lnTo>
                    <a:pt x="332036" y="40640"/>
                  </a:lnTo>
                  <a:lnTo>
                    <a:pt x="321644" y="2540"/>
                  </a:lnTo>
                  <a:lnTo>
                    <a:pt x="318314" y="0"/>
                  </a:lnTo>
                  <a:close/>
                </a:path>
                <a:path w="630555" h="525779">
                  <a:moveTo>
                    <a:pt x="320566" y="111760"/>
                  </a:moveTo>
                  <a:lnTo>
                    <a:pt x="311288" y="111760"/>
                  </a:lnTo>
                  <a:lnTo>
                    <a:pt x="307508" y="115570"/>
                  </a:lnTo>
                  <a:lnTo>
                    <a:pt x="307508" y="140970"/>
                  </a:lnTo>
                  <a:lnTo>
                    <a:pt x="324335" y="140970"/>
                  </a:lnTo>
                  <a:lnTo>
                    <a:pt x="324335" y="115570"/>
                  </a:lnTo>
                  <a:lnTo>
                    <a:pt x="320566" y="111760"/>
                  </a:lnTo>
                  <a:close/>
                </a:path>
                <a:path w="630555" h="525779">
                  <a:moveTo>
                    <a:pt x="332036" y="40640"/>
                  </a:moveTo>
                  <a:lnTo>
                    <a:pt x="314524" y="40640"/>
                  </a:lnTo>
                  <a:lnTo>
                    <a:pt x="341968" y="140970"/>
                  </a:lnTo>
                  <a:lnTo>
                    <a:pt x="359402" y="140970"/>
                  </a:lnTo>
                  <a:lnTo>
                    <a:pt x="332036" y="40640"/>
                  </a:lnTo>
                  <a:close/>
                </a:path>
                <a:path w="630555" h="525779">
                  <a:moveTo>
                    <a:pt x="382784" y="120650"/>
                  </a:moveTo>
                  <a:lnTo>
                    <a:pt x="373496" y="120650"/>
                  </a:lnTo>
                  <a:lnTo>
                    <a:pt x="369737" y="124460"/>
                  </a:lnTo>
                  <a:lnTo>
                    <a:pt x="369737" y="140970"/>
                  </a:lnTo>
                  <a:lnTo>
                    <a:pt x="386553" y="140970"/>
                  </a:lnTo>
                  <a:lnTo>
                    <a:pt x="386553" y="124460"/>
                  </a:lnTo>
                  <a:lnTo>
                    <a:pt x="382784" y="12065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E7B20B14-EA70-405B-AE4E-8F8683B8361B}"/>
                </a:ext>
              </a:extLst>
            </p:cNvPr>
            <p:cNvSpPr/>
            <p:nvPr/>
          </p:nvSpPr>
          <p:spPr>
            <a:xfrm>
              <a:off x="6593675" y="3803649"/>
              <a:ext cx="51675" cy="51675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D1B2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12" name="Рисунок 5">
            <a:extLst>
              <a:ext uri="{FF2B5EF4-FFF2-40B4-BE49-F238E27FC236}">
                <a16:creationId xmlns:a16="http://schemas.microsoft.com/office/drawing/2014/main" id="{09AD9119-31E0-40D0-AA52-767CDC45267C}"/>
              </a:ext>
            </a:extLst>
          </p:cNvPr>
          <p:cNvGrpSpPr/>
          <p:nvPr/>
        </p:nvGrpSpPr>
        <p:grpSpPr>
          <a:xfrm>
            <a:off x="656900" y="4467270"/>
            <a:ext cx="528816" cy="528816"/>
            <a:chOff x="2514600" y="990600"/>
            <a:chExt cx="4876800" cy="4876800"/>
          </a:xfrm>
          <a:solidFill>
            <a:srgbClr val="ED1B2F"/>
          </a:solidFill>
        </p:grpSpPr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BF14FB7A-F2E7-4AFD-B4AA-1A558DF4BB5C}"/>
                </a:ext>
              </a:extLst>
            </p:cNvPr>
            <p:cNvSpPr/>
            <p:nvPr/>
          </p:nvSpPr>
          <p:spPr>
            <a:xfrm>
              <a:off x="3225567" y="2120821"/>
              <a:ext cx="3174561" cy="2832131"/>
            </a:xfrm>
            <a:custGeom>
              <a:avLst/>
              <a:gdLst>
                <a:gd name="connsiteX0" fmla="*/ 3139675 w 3174561"/>
                <a:gd name="connsiteY0" fmla="*/ 1874059 h 2832131"/>
                <a:gd name="connsiteX1" fmla="*/ 2370770 w 3174561"/>
                <a:gd name="connsiteY1" fmla="*/ 1129938 h 2832131"/>
                <a:gd name="connsiteX2" fmla="*/ 1900768 w 3174561"/>
                <a:gd name="connsiteY2" fmla="*/ 728621 h 2832131"/>
                <a:gd name="connsiteX3" fmla="*/ 1794497 w 3174561"/>
                <a:gd name="connsiteY3" fmla="*/ 704846 h 2832131"/>
                <a:gd name="connsiteX4" fmla="*/ 1650432 w 3174561"/>
                <a:gd name="connsiteY4" fmla="*/ 763568 h 2832131"/>
                <a:gd name="connsiteX5" fmla="*/ 1514082 w 3174561"/>
                <a:gd name="connsiteY5" fmla="*/ 800954 h 2832131"/>
                <a:gd name="connsiteX6" fmla="*/ 1439710 w 3174561"/>
                <a:gd name="connsiteY6" fmla="*/ 845454 h 2832131"/>
                <a:gd name="connsiteX7" fmla="*/ 1047938 w 3174561"/>
                <a:gd name="connsiteY7" fmla="*/ 1008627 h 2832131"/>
                <a:gd name="connsiteX8" fmla="*/ 1007504 w 3174561"/>
                <a:gd name="connsiteY8" fmla="*/ 971442 h 2832131"/>
                <a:gd name="connsiteX9" fmla="*/ 1232037 w 3174561"/>
                <a:gd name="connsiteY9" fmla="*/ 535778 h 2832131"/>
                <a:gd name="connsiteX10" fmla="*/ 2092182 w 3174561"/>
                <a:gd name="connsiteY10" fmla="*/ 283403 h 2832131"/>
                <a:gd name="connsiteX11" fmla="*/ 2913114 w 3174561"/>
                <a:gd name="connsiteY11" fmla="*/ 610149 h 2832131"/>
                <a:gd name="connsiteX12" fmla="*/ 3042549 w 3174561"/>
                <a:gd name="connsiteY12" fmla="*/ 547560 h 2832131"/>
                <a:gd name="connsiteX13" fmla="*/ 2979960 w 3174561"/>
                <a:gd name="connsiteY13" fmla="*/ 418125 h 2832131"/>
                <a:gd name="connsiteX14" fmla="*/ 2175288 w 3174561"/>
                <a:gd name="connsiteY14" fmla="*/ 97675 h 2832131"/>
                <a:gd name="connsiteX15" fmla="*/ 1088571 w 3174561"/>
                <a:gd name="connsiteY15" fmla="*/ 391912 h 2832131"/>
                <a:gd name="connsiteX16" fmla="*/ 809574 w 3174561"/>
                <a:gd name="connsiteY16" fmla="*/ 1018381 h 2832131"/>
                <a:gd name="connsiteX17" fmla="*/ 984120 w 3174561"/>
                <a:gd name="connsiteY17" fmla="*/ 1201461 h 2832131"/>
                <a:gd name="connsiteX18" fmla="*/ 1580918 w 3174561"/>
                <a:gd name="connsiteY18" fmla="*/ 997045 h 2832131"/>
                <a:gd name="connsiteX19" fmla="*/ 1733519 w 3174561"/>
                <a:gd name="connsiteY19" fmla="*/ 948686 h 2832131"/>
                <a:gd name="connsiteX20" fmla="*/ 1804642 w 3174561"/>
                <a:gd name="connsiteY20" fmla="*/ 918206 h 2832131"/>
                <a:gd name="connsiteX21" fmla="*/ 2242944 w 3174561"/>
                <a:gd name="connsiteY21" fmla="*/ 1287824 h 2832131"/>
                <a:gd name="connsiteX22" fmla="*/ 2956586 w 3174561"/>
                <a:gd name="connsiteY22" fmla="*/ 1961842 h 2832131"/>
                <a:gd name="connsiteX23" fmla="*/ 2926306 w 3174561"/>
                <a:gd name="connsiteY23" fmla="*/ 2114442 h 2832131"/>
                <a:gd name="connsiteX24" fmla="*/ 2801138 w 3174561"/>
                <a:gd name="connsiteY24" fmla="*/ 2139026 h 2832131"/>
                <a:gd name="connsiteX25" fmla="*/ 2691410 w 3174561"/>
                <a:gd name="connsiteY25" fmla="*/ 2135368 h 2832131"/>
                <a:gd name="connsiteX26" fmla="*/ 2642442 w 3174561"/>
                <a:gd name="connsiteY26" fmla="*/ 2233514 h 2832131"/>
                <a:gd name="connsiteX27" fmla="*/ 2564613 w 3174561"/>
                <a:gd name="connsiteY27" fmla="*/ 2347918 h 2832131"/>
                <a:gd name="connsiteX28" fmla="*/ 2406317 w 3174561"/>
                <a:gd name="connsiteY28" fmla="*/ 2351576 h 2832131"/>
                <a:gd name="connsiteX29" fmla="*/ 2300856 w 3174561"/>
                <a:gd name="connsiteY29" fmla="*/ 2330850 h 2832131"/>
                <a:gd name="connsiteX30" fmla="*/ 2235829 w 3174561"/>
                <a:gd name="connsiteY30" fmla="*/ 2416394 h 2832131"/>
                <a:gd name="connsiteX31" fmla="*/ 2115938 w 3174561"/>
                <a:gd name="connsiteY31" fmla="*/ 2572042 h 2832131"/>
                <a:gd name="connsiteX32" fmla="*/ 1999304 w 3174561"/>
                <a:gd name="connsiteY32" fmla="*/ 2553954 h 2832131"/>
                <a:gd name="connsiteX33" fmla="*/ 1906445 w 3174561"/>
                <a:gd name="connsiteY33" fmla="*/ 2530379 h 2832131"/>
                <a:gd name="connsiteX34" fmla="*/ 1835122 w 3174561"/>
                <a:gd name="connsiteY34" fmla="*/ 2594387 h 2832131"/>
                <a:gd name="connsiteX35" fmla="*/ 1727422 w 3174561"/>
                <a:gd name="connsiteY35" fmla="*/ 2628934 h 2832131"/>
                <a:gd name="connsiteX36" fmla="*/ 1478506 w 3174561"/>
                <a:gd name="connsiteY36" fmla="*/ 2543790 h 2832131"/>
                <a:gd name="connsiteX37" fmla="*/ 573659 w 3174561"/>
                <a:gd name="connsiteY37" fmla="*/ 1839702 h 2832131"/>
                <a:gd name="connsiteX38" fmla="*/ 342621 w 3174561"/>
                <a:gd name="connsiteY38" fmla="*/ 1609474 h 2832131"/>
                <a:gd name="connsiteX39" fmla="*/ 167256 w 3174561"/>
                <a:gd name="connsiteY39" fmla="*/ 1433709 h 2832131"/>
                <a:gd name="connsiteX40" fmla="*/ 24000 w 3174561"/>
                <a:gd name="connsiteY40" fmla="*/ 1445701 h 2832131"/>
                <a:gd name="connsiteX41" fmla="*/ 35992 w 3174561"/>
                <a:gd name="connsiteY41" fmla="*/ 1588957 h 2832131"/>
                <a:gd name="connsiteX42" fmla="*/ 195707 w 3174561"/>
                <a:gd name="connsiteY42" fmla="*/ 1750091 h 2832131"/>
                <a:gd name="connsiteX43" fmla="*/ 443005 w 3174561"/>
                <a:gd name="connsiteY43" fmla="*/ 1995560 h 2832131"/>
                <a:gd name="connsiteX44" fmla="*/ 1366749 w 3174561"/>
                <a:gd name="connsiteY44" fmla="*/ 2713869 h 2832131"/>
                <a:gd name="connsiteX45" fmla="*/ 1727432 w 3174561"/>
                <a:gd name="connsiteY45" fmla="*/ 2832131 h 2832131"/>
                <a:gd name="connsiteX46" fmla="*/ 1958061 w 3174561"/>
                <a:gd name="connsiteY46" fmla="*/ 2764266 h 2832131"/>
                <a:gd name="connsiteX47" fmla="*/ 2189099 w 3174561"/>
                <a:gd name="connsiteY47" fmla="*/ 2761827 h 2832131"/>
                <a:gd name="connsiteX48" fmla="*/ 2400631 w 3174561"/>
                <a:gd name="connsiteY48" fmla="*/ 2566555 h 2832131"/>
                <a:gd name="connsiteX49" fmla="*/ 2655644 w 3174561"/>
                <a:gd name="connsiteY49" fmla="*/ 2529779 h 2832131"/>
                <a:gd name="connsiteX50" fmla="*/ 2825312 w 3174561"/>
                <a:gd name="connsiteY50" fmla="*/ 2352585 h 2832131"/>
                <a:gd name="connsiteX51" fmla="*/ 3058379 w 3174561"/>
                <a:gd name="connsiteY51" fmla="*/ 2269071 h 2832131"/>
                <a:gd name="connsiteX52" fmla="*/ 3139675 w 3174561"/>
                <a:gd name="connsiteY52" fmla="*/ 1874059 h 2832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3174561" h="2832131">
                  <a:moveTo>
                    <a:pt x="3139675" y="1874059"/>
                  </a:moveTo>
                  <a:cubicBezTo>
                    <a:pt x="3043968" y="1674520"/>
                    <a:pt x="2701573" y="1397552"/>
                    <a:pt x="2370770" y="1129938"/>
                  </a:cubicBezTo>
                  <a:cubicBezTo>
                    <a:pt x="2186261" y="980786"/>
                    <a:pt x="2011915" y="839768"/>
                    <a:pt x="1900768" y="728621"/>
                  </a:cubicBezTo>
                  <a:cubicBezTo>
                    <a:pt x="1872926" y="700579"/>
                    <a:pt x="1831274" y="691635"/>
                    <a:pt x="1794497" y="704846"/>
                  </a:cubicBezTo>
                  <a:cubicBezTo>
                    <a:pt x="1726022" y="729640"/>
                    <a:pt x="1683750" y="748738"/>
                    <a:pt x="1650432" y="763568"/>
                  </a:cubicBezTo>
                  <a:cubicBezTo>
                    <a:pt x="1599635" y="786323"/>
                    <a:pt x="1582566" y="794048"/>
                    <a:pt x="1514082" y="800954"/>
                  </a:cubicBezTo>
                  <a:cubicBezTo>
                    <a:pt x="1483802" y="804001"/>
                    <a:pt x="1456579" y="820261"/>
                    <a:pt x="1439710" y="845454"/>
                  </a:cubicBezTo>
                  <a:cubicBezTo>
                    <a:pt x="1296045" y="1060234"/>
                    <a:pt x="1147302" y="1041945"/>
                    <a:pt x="1047938" y="1008627"/>
                  </a:cubicBezTo>
                  <a:cubicBezTo>
                    <a:pt x="1016238" y="998064"/>
                    <a:pt x="1010552" y="984443"/>
                    <a:pt x="1007504" y="971442"/>
                  </a:cubicBezTo>
                  <a:cubicBezTo>
                    <a:pt x="986168" y="882240"/>
                    <a:pt x="1093258" y="674566"/>
                    <a:pt x="1232037" y="535778"/>
                  </a:cubicBezTo>
                  <a:cubicBezTo>
                    <a:pt x="1562240" y="205374"/>
                    <a:pt x="1732518" y="122669"/>
                    <a:pt x="2092182" y="283403"/>
                  </a:cubicBezTo>
                  <a:cubicBezTo>
                    <a:pt x="2500205" y="465874"/>
                    <a:pt x="2909046" y="608729"/>
                    <a:pt x="2913114" y="610149"/>
                  </a:cubicBezTo>
                  <a:cubicBezTo>
                    <a:pt x="2966559" y="628637"/>
                    <a:pt x="3024061" y="600595"/>
                    <a:pt x="3042549" y="547560"/>
                  </a:cubicBezTo>
                  <a:cubicBezTo>
                    <a:pt x="3060837" y="494525"/>
                    <a:pt x="3032995" y="436613"/>
                    <a:pt x="2979960" y="418125"/>
                  </a:cubicBezTo>
                  <a:cubicBezTo>
                    <a:pt x="2975893" y="416705"/>
                    <a:pt x="2575186" y="276697"/>
                    <a:pt x="2175288" y="97675"/>
                  </a:cubicBezTo>
                  <a:cubicBezTo>
                    <a:pt x="1709354" y="-110608"/>
                    <a:pt x="1453722" y="26552"/>
                    <a:pt x="1088571" y="391912"/>
                  </a:cubicBezTo>
                  <a:cubicBezTo>
                    <a:pt x="949582" y="530901"/>
                    <a:pt x="760806" y="812126"/>
                    <a:pt x="809574" y="1018381"/>
                  </a:cubicBezTo>
                  <a:cubicBezTo>
                    <a:pt x="830501" y="1106163"/>
                    <a:pt x="892280" y="1171190"/>
                    <a:pt x="984120" y="1201461"/>
                  </a:cubicBezTo>
                  <a:cubicBezTo>
                    <a:pt x="1214349" y="1277461"/>
                    <a:pt x="1424451" y="1204709"/>
                    <a:pt x="1580918" y="997045"/>
                  </a:cubicBezTo>
                  <a:cubicBezTo>
                    <a:pt x="1645536" y="987091"/>
                    <a:pt x="1680693" y="972461"/>
                    <a:pt x="1733519" y="948686"/>
                  </a:cubicBezTo>
                  <a:cubicBezTo>
                    <a:pt x="1752616" y="940152"/>
                    <a:pt x="1774971" y="930198"/>
                    <a:pt x="1804642" y="918206"/>
                  </a:cubicBezTo>
                  <a:cubicBezTo>
                    <a:pt x="1920875" y="1027325"/>
                    <a:pt x="2077743" y="1154322"/>
                    <a:pt x="2242944" y="1287824"/>
                  </a:cubicBezTo>
                  <a:cubicBezTo>
                    <a:pt x="2541648" y="1529426"/>
                    <a:pt x="2880386" y="1803345"/>
                    <a:pt x="2956586" y="1961842"/>
                  </a:cubicBezTo>
                  <a:cubicBezTo>
                    <a:pt x="2994181" y="2040070"/>
                    <a:pt x="2953738" y="2091077"/>
                    <a:pt x="2926306" y="2114442"/>
                  </a:cubicBezTo>
                  <a:cubicBezTo>
                    <a:pt x="2886072" y="2148989"/>
                    <a:pt x="2831008" y="2159961"/>
                    <a:pt x="2801138" y="2139026"/>
                  </a:cubicBezTo>
                  <a:cubicBezTo>
                    <a:pt x="2768219" y="2116470"/>
                    <a:pt x="2725347" y="2115051"/>
                    <a:pt x="2691410" y="2135368"/>
                  </a:cubicBezTo>
                  <a:cubicBezTo>
                    <a:pt x="2657272" y="2155685"/>
                    <a:pt x="2638175" y="2194090"/>
                    <a:pt x="2642442" y="2233514"/>
                  </a:cubicBezTo>
                  <a:cubicBezTo>
                    <a:pt x="2649347" y="2298131"/>
                    <a:pt x="2590216" y="2335117"/>
                    <a:pt x="2564613" y="2347918"/>
                  </a:cubicBezTo>
                  <a:cubicBezTo>
                    <a:pt x="2499586" y="2380837"/>
                    <a:pt x="2431720" y="2375150"/>
                    <a:pt x="2406317" y="2351576"/>
                  </a:cubicBezTo>
                  <a:cubicBezTo>
                    <a:pt x="2377866" y="2325163"/>
                    <a:pt x="2337023" y="2317439"/>
                    <a:pt x="2300856" y="2330850"/>
                  </a:cubicBezTo>
                  <a:cubicBezTo>
                    <a:pt x="2264690" y="2344461"/>
                    <a:pt x="2239487" y="2377789"/>
                    <a:pt x="2235829" y="2416394"/>
                  </a:cubicBezTo>
                  <a:cubicBezTo>
                    <a:pt x="2229733" y="2483040"/>
                    <a:pt x="2180355" y="2547048"/>
                    <a:pt x="2115938" y="2572042"/>
                  </a:cubicBezTo>
                  <a:cubicBezTo>
                    <a:pt x="2084848" y="2583824"/>
                    <a:pt x="2039738" y="2590939"/>
                    <a:pt x="1999304" y="2553954"/>
                  </a:cubicBezTo>
                  <a:cubicBezTo>
                    <a:pt x="1974111" y="2531198"/>
                    <a:pt x="1939154" y="2522454"/>
                    <a:pt x="1906445" y="2530379"/>
                  </a:cubicBezTo>
                  <a:cubicBezTo>
                    <a:pt x="1873326" y="2538504"/>
                    <a:pt x="1846704" y="2562488"/>
                    <a:pt x="1835122" y="2594387"/>
                  </a:cubicBezTo>
                  <a:cubicBezTo>
                    <a:pt x="1831264" y="2604550"/>
                    <a:pt x="1822520" y="2628934"/>
                    <a:pt x="1727422" y="2628934"/>
                  </a:cubicBezTo>
                  <a:cubicBezTo>
                    <a:pt x="1659757" y="2628934"/>
                    <a:pt x="1538037" y="2583214"/>
                    <a:pt x="1478506" y="2543790"/>
                  </a:cubicBezTo>
                  <a:cubicBezTo>
                    <a:pt x="1407183" y="2496851"/>
                    <a:pt x="959936" y="2163200"/>
                    <a:pt x="573659" y="1839702"/>
                  </a:cubicBezTo>
                  <a:cubicBezTo>
                    <a:pt x="519405" y="1793982"/>
                    <a:pt x="425526" y="1696037"/>
                    <a:pt x="342621" y="1609474"/>
                  </a:cubicBezTo>
                  <a:cubicBezTo>
                    <a:pt x="269059" y="1532664"/>
                    <a:pt x="201803" y="1462970"/>
                    <a:pt x="167256" y="1433709"/>
                  </a:cubicBezTo>
                  <a:cubicBezTo>
                    <a:pt x="123974" y="1397133"/>
                    <a:pt x="59967" y="1402619"/>
                    <a:pt x="24000" y="1445701"/>
                  </a:cubicBezTo>
                  <a:cubicBezTo>
                    <a:pt x="-12166" y="1488573"/>
                    <a:pt x="-6890" y="1552790"/>
                    <a:pt x="35992" y="1588957"/>
                  </a:cubicBezTo>
                  <a:cubicBezTo>
                    <a:pt x="67491" y="1615579"/>
                    <a:pt x="128451" y="1679987"/>
                    <a:pt x="195707" y="1750091"/>
                  </a:cubicBezTo>
                  <a:cubicBezTo>
                    <a:pt x="286338" y="1844779"/>
                    <a:pt x="380007" y="1942725"/>
                    <a:pt x="443005" y="1995560"/>
                  </a:cubicBezTo>
                  <a:cubicBezTo>
                    <a:pt x="821366" y="2312352"/>
                    <a:pt x="1276128" y="2654338"/>
                    <a:pt x="1366749" y="2713869"/>
                  </a:cubicBezTo>
                  <a:cubicBezTo>
                    <a:pt x="1441530" y="2763046"/>
                    <a:pt x="1602664" y="2832131"/>
                    <a:pt x="1727432" y="2832131"/>
                  </a:cubicBezTo>
                  <a:cubicBezTo>
                    <a:pt x="1827606" y="2832131"/>
                    <a:pt x="1904626" y="2809167"/>
                    <a:pt x="1958061" y="2764266"/>
                  </a:cubicBezTo>
                  <a:cubicBezTo>
                    <a:pt x="2029584" y="2792107"/>
                    <a:pt x="2110871" y="2792307"/>
                    <a:pt x="2189099" y="2761827"/>
                  </a:cubicBezTo>
                  <a:cubicBezTo>
                    <a:pt x="2281558" y="2726061"/>
                    <a:pt x="2357549" y="2653928"/>
                    <a:pt x="2400631" y="2566555"/>
                  </a:cubicBezTo>
                  <a:cubicBezTo>
                    <a:pt x="2480688" y="2583624"/>
                    <a:pt x="2572338" y="2571632"/>
                    <a:pt x="2655644" y="2529779"/>
                  </a:cubicBezTo>
                  <a:cubicBezTo>
                    <a:pt x="2737130" y="2488736"/>
                    <a:pt x="2796052" y="2425947"/>
                    <a:pt x="2825312" y="2352585"/>
                  </a:cubicBezTo>
                  <a:cubicBezTo>
                    <a:pt x="2906189" y="2356853"/>
                    <a:pt x="2989495" y="2328202"/>
                    <a:pt x="3058379" y="2269071"/>
                  </a:cubicBezTo>
                  <a:cubicBezTo>
                    <a:pt x="3175032" y="2169306"/>
                    <a:pt x="3207131" y="2014067"/>
                    <a:pt x="3139675" y="18740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CE1525E1-E8ED-45FD-9FCB-BF9F896E640C}"/>
                </a:ext>
              </a:extLst>
            </p:cNvPr>
            <p:cNvSpPr/>
            <p:nvPr/>
          </p:nvSpPr>
          <p:spPr>
            <a:xfrm>
              <a:off x="3530593" y="2311365"/>
              <a:ext cx="1117606" cy="203206"/>
            </a:xfrm>
            <a:custGeom>
              <a:avLst/>
              <a:gdLst>
                <a:gd name="connsiteX0" fmla="*/ 1016003 w 1117606"/>
                <a:gd name="connsiteY0" fmla="*/ 0 h 203206"/>
                <a:gd name="connsiteX1" fmla="*/ 101603 w 1117606"/>
                <a:gd name="connsiteY1" fmla="*/ 0 h 203206"/>
                <a:gd name="connsiteX2" fmla="*/ 0 w 1117606"/>
                <a:gd name="connsiteY2" fmla="*/ 101603 h 203206"/>
                <a:gd name="connsiteX3" fmla="*/ 101603 w 1117606"/>
                <a:gd name="connsiteY3" fmla="*/ 203206 h 203206"/>
                <a:gd name="connsiteX4" fmla="*/ 1016003 w 1117606"/>
                <a:gd name="connsiteY4" fmla="*/ 203206 h 203206"/>
                <a:gd name="connsiteX5" fmla="*/ 1117606 w 1117606"/>
                <a:gd name="connsiteY5" fmla="*/ 101603 h 203206"/>
                <a:gd name="connsiteX6" fmla="*/ 1016003 w 1117606"/>
                <a:gd name="connsiteY6" fmla="*/ 0 h 203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7606" h="203206">
                  <a:moveTo>
                    <a:pt x="1016003" y="0"/>
                  </a:moveTo>
                  <a:lnTo>
                    <a:pt x="101603" y="0"/>
                  </a:lnTo>
                  <a:cubicBezTo>
                    <a:pt x="45520" y="0"/>
                    <a:pt x="0" y="45520"/>
                    <a:pt x="0" y="101603"/>
                  </a:cubicBezTo>
                  <a:cubicBezTo>
                    <a:pt x="0" y="157686"/>
                    <a:pt x="45520" y="203206"/>
                    <a:pt x="101603" y="203206"/>
                  </a:cubicBezTo>
                  <a:lnTo>
                    <a:pt x="1016003" y="203206"/>
                  </a:lnTo>
                  <a:cubicBezTo>
                    <a:pt x="1072086" y="203206"/>
                    <a:pt x="1117606" y="157686"/>
                    <a:pt x="1117606" y="101603"/>
                  </a:cubicBezTo>
                  <a:cubicBezTo>
                    <a:pt x="1117606" y="45520"/>
                    <a:pt x="1072086" y="0"/>
                    <a:pt x="1016003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6ADC0DFB-3B2D-4111-BB50-1BD1A1E2A588}"/>
                </a:ext>
              </a:extLst>
            </p:cNvPr>
            <p:cNvSpPr/>
            <p:nvPr/>
          </p:nvSpPr>
          <p:spPr>
            <a:xfrm>
              <a:off x="6179922" y="3733583"/>
              <a:ext cx="500282" cy="402923"/>
            </a:xfrm>
            <a:custGeom>
              <a:avLst/>
              <a:gdLst>
                <a:gd name="connsiteX0" fmla="*/ 483005 w 500282"/>
                <a:gd name="connsiteY0" fmla="*/ 45088 h 402923"/>
                <a:gd name="connsiteX1" fmla="*/ 341988 w 500282"/>
                <a:gd name="connsiteY1" fmla="*/ 17456 h 402923"/>
                <a:gd name="connsiteX2" fmla="*/ 44913 w 500282"/>
                <a:gd name="connsiteY2" fmla="*/ 216996 h 402923"/>
                <a:gd name="connsiteX3" fmla="*/ 17281 w 500282"/>
                <a:gd name="connsiteY3" fmla="*/ 358013 h 402923"/>
                <a:gd name="connsiteX4" fmla="*/ 101815 w 500282"/>
                <a:gd name="connsiteY4" fmla="*/ 402924 h 402923"/>
                <a:gd name="connsiteX5" fmla="*/ 158308 w 500282"/>
                <a:gd name="connsiteY5" fmla="*/ 385655 h 402923"/>
                <a:gd name="connsiteX6" fmla="*/ 455383 w 500282"/>
                <a:gd name="connsiteY6" fmla="*/ 186116 h 402923"/>
                <a:gd name="connsiteX7" fmla="*/ 483005 w 500282"/>
                <a:gd name="connsiteY7" fmla="*/ 45088 h 402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0282" h="402923">
                  <a:moveTo>
                    <a:pt x="483005" y="45088"/>
                  </a:moveTo>
                  <a:cubicBezTo>
                    <a:pt x="451506" y="-1441"/>
                    <a:pt x="388517" y="-14243"/>
                    <a:pt x="341988" y="17456"/>
                  </a:cubicBezTo>
                  <a:lnTo>
                    <a:pt x="44913" y="216996"/>
                  </a:lnTo>
                  <a:cubicBezTo>
                    <a:pt x="-1617" y="248285"/>
                    <a:pt x="-14019" y="311484"/>
                    <a:pt x="17281" y="358013"/>
                  </a:cubicBezTo>
                  <a:cubicBezTo>
                    <a:pt x="36988" y="387074"/>
                    <a:pt x="69097" y="402924"/>
                    <a:pt x="101815" y="402924"/>
                  </a:cubicBezTo>
                  <a:cubicBezTo>
                    <a:pt x="121122" y="402924"/>
                    <a:pt x="140829" y="397437"/>
                    <a:pt x="158308" y="385655"/>
                  </a:cubicBezTo>
                  <a:lnTo>
                    <a:pt x="455383" y="186116"/>
                  </a:lnTo>
                  <a:cubicBezTo>
                    <a:pt x="501903" y="154816"/>
                    <a:pt x="514295" y="91627"/>
                    <a:pt x="483005" y="450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EB1B3E49-448F-4BD1-89F7-5672C8A43F21}"/>
                </a:ext>
              </a:extLst>
            </p:cNvPr>
            <p:cNvSpPr/>
            <p:nvPr/>
          </p:nvSpPr>
          <p:spPr>
            <a:xfrm>
              <a:off x="5257947" y="3632048"/>
              <a:ext cx="812949" cy="812935"/>
            </a:xfrm>
            <a:custGeom>
              <a:avLst/>
              <a:gdLst>
                <a:gd name="connsiteX0" fmla="*/ 774244 w 812949"/>
                <a:gd name="connsiteY0" fmla="*/ 631466 h 812935"/>
                <a:gd name="connsiteX1" fmla="*/ 175008 w 812949"/>
                <a:gd name="connsiteY1" fmla="*/ 31419 h 812935"/>
                <a:gd name="connsiteX2" fmla="*/ 31342 w 812949"/>
                <a:gd name="connsiteY2" fmla="*/ 28371 h 812935"/>
                <a:gd name="connsiteX3" fmla="*/ 28294 w 812949"/>
                <a:gd name="connsiteY3" fmla="*/ 172037 h 812935"/>
                <a:gd name="connsiteX4" fmla="*/ 648257 w 812949"/>
                <a:gd name="connsiteY4" fmla="*/ 791190 h 812935"/>
                <a:gd name="connsiteX5" fmla="*/ 711046 w 812949"/>
                <a:gd name="connsiteY5" fmla="*/ 812936 h 812935"/>
                <a:gd name="connsiteX6" fmla="*/ 791104 w 812949"/>
                <a:gd name="connsiteY6" fmla="*/ 774121 h 812935"/>
                <a:gd name="connsiteX7" fmla="*/ 774244 w 812949"/>
                <a:gd name="connsiteY7" fmla="*/ 631466 h 812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2949" h="812935">
                  <a:moveTo>
                    <a:pt x="774244" y="631466"/>
                  </a:moveTo>
                  <a:cubicBezTo>
                    <a:pt x="701502" y="574163"/>
                    <a:pt x="376176" y="241121"/>
                    <a:pt x="175008" y="31419"/>
                  </a:cubicBezTo>
                  <a:cubicBezTo>
                    <a:pt x="136193" y="-9224"/>
                    <a:pt x="71785" y="-10643"/>
                    <a:pt x="31342" y="28371"/>
                  </a:cubicBezTo>
                  <a:cubicBezTo>
                    <a:pt x="-9301" y="67185"/>
                    <a:pt x="-10520" y="131593"/>
                    <a:pt x="28294" y="172037"/>
                  </a:cubicBezTo>
                  <a:cubicBezTo>
                    <a:pt x="80520" y="226491"/>
                    <a:pt x="541168" y="706656"/>
                    <a:pt x="648257" y="791190"/>
                  </a:cubicBezTo>
                  <a:cubicBezTo>
                    <a:pt x="666745" y="805821"/>
                    <a:pt x="689100" y="812936"/>
                    <a:pt x="711046" y="812936"/>
                  </a:cubicBezTo>
                  <a:cubicBezTo>
                    <a:pt x="740916" y="812936"/>
                    <a:pt x="770787" y="799524"/>
                    <a:pt x="791104" y="774121"/>
                  </a:cubicBezTo>
                  <a:cubicBezTo>
                    <a:pt x="825860" y="730221"/>
                    <a:pt x="818345" y="666213"/>
                    <a:pt x="774244" y="63146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9EA82779-E090-42FB-ACE7-87BF24A414DA}"/>
                </a:ext>
              </a:extLst>
            </p:cNvPr>
            <p:cNvSpPr/>
            <p:nvPr/>
          </p:nvSpPr>
          <p:spPr>
            <a:xfrm>
              <a:off x="4953048" y="3937034"/>
              <a:ext cx="711192" cy="711136"/>
            </a:xfrm>
            <a:custGeom>
              <a:avLst/>
              <a:gdLst>
                <a:gd name="connsiteX0" fmla="*/ 673150 w 711192"/>
                <a:gd name="connsiteY0" fmla="*/ 530286 h 711136"/>
                <a:gd name="connsiteX1" fmla="*/ 176526 w 711192"/>
                <a:gd name="connsiteY1" fmla="*/ 32852 h 711136"/>
                <a:gd name="connsiteX2" fmla="*/ 32860 w 711192"/>
                <a:gd name="connsiteY2" fmla="*/ 26756 h 711136"/>
                <a:gd name="connsiteX3" fmla="*/ 26764 w 711192"/>
                <a:gd name="connsiteY3" fmla="*/ 170422 h 711136"/>
                <a:gd name="connsiteX4" fmla="*/ 546144 w 711192"/>
                <a:gd name="connsiteY4" fmla="*/ 688991 h 711136"/>
                <a:gd name="connsiteX5" fmla="*/ 609542 w 711192"/>
                <a:gd name="connsiteY5" fmla="*/ 711137 h 711136"/>
                <a:gd name="connsiteX6" fmla="*/ 688990 w 711192"/>
                <a:gd name="connsiteY6" fmla="*/ 673142 h 711136"/>
                <a:gd name="connsiteX7" fmla="*/ 673150 w 711192"/>
                <a:gd name="connsiteY7" fmla="*/ 530286 h 711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1192" h="711136">
                  <a:moveTo>
                    <a:pt x="673150" y="530286"/>
                  </a:moveTo>
                  <a:cubicBezTo>
                    <a:pt x="551430" y="432950"/>
                    <a:pt x="245620" y="108033"/>
                    <a:pt x="176526" y="32852"/>
                  </a:cubicBezTo>
                  <a:cubicBezTo>
                    <a:pt x="138321" y="-8601"/>
                    <a:pt x="74313" y="-11039"/>
                    <a:pt x="32860" y="26756"/>
                  </a:cubicBezTo>
                  <a:cubicBezTo>
                    <a:pt x="-8392" y="64751"/>
                    <a:pt x="-11231" y="129169"/>
                    <a:pt x="26764" y="170422"/>
                  </a:cubicBezTo>
                  <a:cubicBezTo>
                    <a:pt x="30422" y="174279"/>
                    <a:pt x="395372" y="568291"/>
                    <a:pt x="546144" y="688991"/>
                  </a:cubicBezTo>
                  <a:cubicBezTo>
                    <a:pt x="564841" y="703822"/>
                    <a:pt x="587397" y="711137"/>
                    <a:pt x="609542" y="711137"/>
                  </a:cubicBezTo>
                  <a:cubicBezTo>
                    <a:pt x="639213" y="711137"/>
                    <a:pt x="668873" y="697926"/>
                    <a:pt x="688990" y="673142"/>
                  </a:cubicBezTo>
                  <a:cubicBezTo>
                    <a:pt x="723956" y="629241"/>
                    <a:pt x="716841" y="565233"/>
                    <a:pt x="673150" y="5302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D093A1DD-B4B2-4559-B11D-B8E6EC7C97C7}"/>
                </a:ext>
              </a:extLst>
            </p:cNvPr>
            <p:cNvSpPr/>
            <p:nvPr/>
          </p:nvSpPr>
          <p:spPr>
            <a:xfrm>
              <a:off x="4546692" y="4139982"/>
              <a:ext cx="711246" cy="711385"/>
            </a:xfrm>
            <a:custGeom>
              <a:avLst/>
              <a:gdLst>
                <a:gd name="connsiteX0" fmla="*/ 675141 w 711246"/>
                <a:gd name="connsiteY0" fmla="*/ 531963 h 711385"/>
                <a:gd name="connsiteX1" fmla="*/ 175879 w 711246"/>
                <a:gd name="connsiteY1" fmla="*/ 32291 h 711385"/>
                <a:gd name="connsiteX2" fmla="*/ 32213 w 711246"/>
                <a:gd name="connsiteY2" fmla="*/ 27414 h 711385"/>
                <a:gd name="connsiteX3" fmla="*/ 27336 w 711246"/>
                <a:gd name="connsiteY3" fmla="*/ 171080 h 711385"/>
                <a:gd name="connsiteX4" fmla="*/ 544077 w 711246"/>
                <a:gd name="connsiteY4" fmla="*/ 687411 h 711385"/>
                <a:gd name="connsiteX5" fmla="*/ 609504 w 711246"/>
                <a:gd name="connsiteY5" fmla="*/ 711385 h 711385"/>
                <a:gd name="connsiteX6" fmla="*/ 687333 w 711246"/>
                <a:gd name="connsiteY6" fmla="*/ 675219 h 711385"/>
                <a:gd name="connsiteX7" fmla="*/ 675141 w 711246"/>
                <a:gd name="connsiteY7" fmla="*/ 531963 h 711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1246" h="711385">
                  <a:moveTo>
                    <a:pt x="675141" y="531963"/>
                  </a:moveTo>
                  <a:cubicBezTo>
                    <a:pt x="530256" y="409843"/>
                    <a:pt x="233791" y="94270"/>
                    <a:pt x="175879" y="32291"/>
                  </a:cubicBezTo>
                  <a:cubicBezTo>
                    <a:pt x="137474" y="-8752"/>
                    <a:pt x="73056" y="-10991"/>
                    <a:pt x="32213" y="27414"/>
                  </a:cubicBezTo>
                  <a:cubicBezTo>
                    <a:pt x="-8830" y="65819"/>
                    <a:pt x="-10869" y="130027"/>
                    <a:pt x="27336" y="171080"/>
                  </a:cubicBezTo>
                  <a:cubicBezTo>
                    <a:pt x="110651" y="260282"/>
                    <a:pt x="394315" y="561024"/>
                    <a:pt x="544077" y="687411"/>
                  </a:cubicBezTo>
                  <a:cubicBezTo>
                    <a:pt x="563175" y="703461"/>
                    <a:pt x="586339" y="711385"/>
                    <a:pt x="609504" y="711385"/>
                  </a:cubicBezTo>
                  <a:cubicBezTo>
                    <a:pt x="638355" y="711385"/>
                    <a:pt x="667216" y="698993"/>
                    <a:pt x="687333" y="675219"/>
                  </a:cubicBezTo>
                  <a:cubicBezTo>
                    <a:pt x="723499" y="632138"/>
                    <a:pt x="718013" y="568130"/>
                    <a:pt x="675141" y="53196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39C7B7E1-53F9-445F-AF71-C82194BFC36F}"/>
                </a:ext>
              </a:extLst>
            </p:cNvPr>
            <p:cNvSpPr/>
            <p:nvPr/>
          </p:nvSpPr>
          <p:spPr>
            <a:xfrm>
              <a:off x="2514600" y="1905033"/>
              <a:ext cx="1219167" cy="2031934"/>
            </a:xfrm>
            <a:custGeom>
              <a:avLst/>
              <a:gdLst>
                <a:gd name="connsiteX0" fmla="*/ 1187501 w 1219167"/>
                <a:gd name="connsiteY0" fmla="*/ 230976 h 2031934"/>
                <a:gd name="connsiteX1" fmla="*/ 107699 w 1219167"/>
                <a:gd name="connsiteY1" fmla="*/ 138 h 2031934"/>
                <a:gd name="connsiteX2" fmla="*/ 31909 w 1219167"/>
                <a:gd name="connsiteY2" fmla="*/ 27570 h 2031934"/>
                <a:gd name="connsiteX3" fmla="*/ 0 w 1219167"/>
                <a:gd name="connsiteY3" fmla="*/ 101532 h 2031934"/>
                <a:gd name="connsiteX4" fmla="*/ 0 w 1219167"/>
                <a:gd name="connsiteY4" fmla="*/ 1930332 h 2031934"/>
                <a:gd name="connsiteX5" fmla="*/ 101603 w 1219167"/>
                <a:gd name="connsiteY5" fmla="*/ 2031935 h 2031934"/>
                <a:gd name="connsiteX6" fmla="*/ 711203 w 1219167"/>
                <a:gd name="connsiteY6" fmla="*/ 2031935 h 2031934"/>
                <a:gd name="connsiteX7" fmla="*/ 807720 w 1219167"/>
                <a:gd name="connsiteY7" fmla="*/ 1961831 h 2031934"/>
                <a:gd name="connsiteX8" fmla="*/ 1218790 w 1219167"/>
                <a:gd name="connsiteY8" fmla="*/ 313473 h 2031934"/>
                <a:gd name="connsiteX9" fmla="*/ 1187501 w 1219167"/>
                <a:gd name="connsiteY9" fmla="*/ 230976 h 2031934"/>
                <a:gd name="connsiteX10" fmla="*/ 637032 w 1219167"/>
                <a:gd name="connsiteY10" fmla="*/ 1828738 h 2031934"/>
                <a:gd name="connsiteX11" fmla="*/ 203197 w 1219167"/>
                <a:gd name="connsiteY11" fmla="*/ 1828738 h 2031934"/>
                <a:gd name="connsiteX12" fmla="*/ 203197 w 1219167"/>
                <a:gd name="connsiteY12" fmla="*/ 210450 h 2031934"/>
                <a:gd name="connsiteX13" fmla="*/ 1010107 w 1219167"/>
                <a:gd name="connsiteY13" fmla="*/ 354516 h 2031934"/>
                <a:gd name="connsiteX14" fmla="*/ 637032 w 1219167"/>
                <a:gd name="connsiteY14" fmla="*/ 1828738 h 2031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167" h="2031934">
                  <a:moveTo>
                    <a:pt x="1187501" y="230976"/>
                  </a:moveTo>
                  <a:cubicBezTo>
                    <a:pt x="1013355" y="65975"/>
                    <a:pt x="316992" y="12530"/>
                    <a:pt x="107699" y="138"/>
                  </a:cubicBezTo>
                  <a:cubicBezTo>
                    <a:pt x="78848" y="-1281"/>
                    <a:pt x="52226" y="8263"/>
                    <a:pt x="31909" y="27570"/>
                  </a:cubicBezTo>
                  <a:cubicBezTo>
                    <a:pt x="11582" y="46668"/>
                    <a:pt x="0" y="73490"/>
                    <a:pt x="0" y="101532"/>
                  </a:cubicBezTo>
                  <a:lnTo>
                    <a:pt x="0" y="1930332"/>
                  </a:lnTo>
                  <a:cubicBezTo>
                    <a:pt x="0" y="1986415"/>
                    <a:pt x="45520" y="2031935"/>
                    <a:pt x="101603" y="2031935"/>
                  </a:cubicBezTo>
                  <a:lnTo>
                    <a:pt x="711203" y="2031935"/>
                  </a:lnTo>
                  <a:cubicBezTo>
                    <a:pt x="755094" y="2031935"/>
                    <a:pt x="794109" y="2003693"/>
                    <a:pt x="807720" y="1961831"/>
                  </a:cubicBezTo>
                  <a:cubicBezTo>
                    <a:pt x="822550" y="1916311"/>
                    <a:pt x="1172670" y="841796"/>
                    <a:pt x="1218790" y="313473"/>
                  </a:cubicBezTo>
                  <a:cubicBezTo>
                    <a:pt x="1221438" y="282583"/>
                    <a:pt x="1210056" y="252103"/>
                    <a:pt x="1187501" y="230976"/>
                  </a:cubicBezTo>
                  <a:close/>
                  <a:moveTo>
                    <a:pt x="637032" y="1828738"/>
                  </a:moveTo>
                  <a:lnTo>
                    <a:pt x="203197" y="1828738"/>
                  </a:lnTo>
                  <a:lnTo>
                    <a:pt x="203197" y="210450"/>
                  </a:lnTo>
                  <a:cubicBezTo>
                    <a:pt x="529742" y="236253"/>
                    <a:pt x="882091" y="292337"/>
                    <a:pt x="1010107" y="354516"/>
                  </a:cubicBezTo>
                  <a:cubicBezTo>
                    <a:pt x="956262" y="799524"/>
                    <a:pt x="712622" y="1590175"/>
                    <a:pt x="637032" y="18287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C41A0390-2F3E-4723-8F51-729CF1A226EB}"/>
                </a:ext>
              </a:extLst>
            </p:cNvPr>
            <p:cNvSpPr/>
            <p:nvPr/>
          </p:nvSpPr>
          <p:spPr>
            <a:xfrm>
              <a:off x="5972616" y="2108168"/>
              <a:ext cx="1418783" cy="2031996"/>
            </a:xfrm>
            <a:custGeom>
              <a:avLst/>
              <a:gdLst>
                <a:gd name="connsiteX0" fmla="*/ 1317180 w 1418783"/>
                <a:gd name="connsiteY0" fmla="*/ 0 h 2031996"/>
                <a:gd name="connsiteX1" fmla="*/ 58356 w 1418783"/>
                <a:gd name="connsiteY1" fmla="*/ 212750 h 2031996"/>
                <a:gd name="connsiteX2" fmla="*/ 4102 w 1418783"/>
                <a:gd name="connsiteY2" fmla="*/ 275949 h 2031996"/>
                <a:gd name="connsiteX3" fmla="*/ 15275 w 1418783"/>
                <a:gd name="connsiteY3" fmla="*/ 358445 h 2031996"/>
                <a:gd name="connsiteX4" fmla="*/ 609635 w 1418783"/>
                <a:gd name="connsiteY4" fmla="*/ 1957426 h 2031996"/>
                <a:gd name="connsiteX5" fmla="*/ 707580 w 1418783"/>
                <a:gd name="connsiteY5" fmla="*/ 2031997 h 2031996"/>
                <a:gd name="connsiteX6" fmla="*/ 1317180 w 1418783"/>
                <a:gd name="connsiteY6" fmla="*/ 2031997 h 2031996"/>
                <a:gd name="connsiteX7" fmla="*/ 1418784 w 1418783"/>
                <a:gd name="connsiteY7" fmla="*/ 1930394 h 2031996"/>
                <a:gd name="connsiteX8" fmla="*/ 1418784 w 1418783"/>
                <a:gd name="connsiteY8" fmla="*/ 101594 h 2031996"/>
                <a:gd name="connsiteX9" fmla="*/ 1317180 w 1418783"/>
                <a:gd name="connsiteY9" fmla="*/ 0 h 2031996"/>
                <a:gd name="connsiteX10" fmla="*/ 1215587 w 1418783"/>
                <a:gd name="connsiteY10" fmla="*/ 1828800 h 2031996"/>
                <a:gd name="connsiteX11" fmla="*/ 783580 w 1418783"/>
                <a:gd name="connsiteY11" fmla="*/ 1828800 h 2031996"/>
                <a:gd name="connsiteX12" fmla="*/ 244084 w 1418783"/>
                <a:gd name="connsiteY12" fmla="*/ 358854 h 2031996"/>
                <a:gd name="connsiteX13" fmla="*/ 1215587 w 1418783"/>
                <a:gd name="connsiteY13" fmla="*/ 204426 h 2031996"/>
                <a:gd name="connsiteX14" fmla="*/ 1215587 w 1418783"/>
                <a:gd name="connsiteY14" fmla="*/ 1828800 h 2031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18783" h="2031996">
                  <a:moveTo>
                    <a:pt x="1317180" y="0"/>
                  </a:moveTo>
                  <a:cubicBezTo>
                    <a:pt x="519414" y="0"/>
                    <a:pt x="76845" y="204216"/>
                    <a:pt x="58356" y="212750"/>
                  </a:cubicBezTo>
                  <a:cubicBezTo>
                    <a:pt x="31943" y="225142"/>
                    <a:pt x="12227" y="248107"/>
                    <a:pt x="4102" y="275949"/>
                  </a:cubicBezTo>
                  <a:cubicBezTo>
                    <a:pt x="-4023" y="303790"/>
                    <a:pt x="35" y="333661"/>
                    <a:pt x="15275" y="358445"/>
                  </a:cubicBezTo>
                  <a:cubicBezTo>
                    <a:pt x="140853" y="560632"/>
                    <a:pt x="534045" y="1683515"/>
                    <a:pt x="609635" y="1957426"/>
                  </a:cubicBezTo>
                  <a:cubicBezTo>
                    <a:pt x="621827" y="2001517"/>
                    <a:pt x="661860" y="2031997"/>
                    <a:pt x="707580" y="2031997"/>
                  </a:cubicBezTo>
                  <a:lnTo>
                    <a:pt x="1317180" y="2031997"/>
                  </a:lnTo>
                  <a:cubicBezTo>
                    <a:pt x="1373264" y="2031997"/>
                    <a:pt x="1418784" y="1986477"/>
                    <a:pt x="1418784" y="1930394"/>
                  </a:cubicBezTo>
                  <a:lnTo>
                    <a:pt x="1418784" y="101594"/>
                  </a:lnTo>
                  <a:cubicBezTo>
                    <a:pt x="1418784" y="45310"/>
                    <a:pt x="1373264" y="0"/>
                    <a:pt x="1317180" y="0"/>
                  </a:cubicBezTo>
                  <a:close/>
                  <a:moveTo>
                    <a:pt x="1215587" y="1828800"/>
                  </a:moveTo>
                  <a:lnTo>
                    <a:pt x="783580" y="1828800"/>
                  </a:lnTo>
                  <a:cubicBezTo>
                    <a:pt x="687264" y="1515056"/>
                    <a:pt x="402780" y="696973"/>
                    <a:pt x="244084" y="358854"/>
                  </a:cubicBezTo>
                  <a:cubicBezTo>
                    <a:pt x="399123" y="306229"/>
                    <a:pt x="732174" y="215798"/>
                    <a:pt x="1215587" y="204426"/>
                  </a:cubicBezTo>
                  <a:lnTo>
                    <a:pt x="1215587" y="18288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27" name="AI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41A0A76-A900-4DB7-B4BE-C33FBCE1F6D6}"/>
              </a:ext>
            </a:extLst>
          </p:cNvPr>
          <p:cNvGrpSpPr>
            <a:grpSpLocks noChangeAspect="1"/>
          </p:cNvGrpSpPr>
          <p:nvPr/>
        </p:nvGrpSpPr>
        <p:grpSpPr>
          <a:xfrm>
            <a:off x="656501" y="3585286"/>
            <a:ext cx="524656" cy="485681"/>
            <a:chOff x="5936234" y="2219065"/>
            <a:chExt cx="3630213" cy="3360535"/>
          </a:xfrm>
          <a:solidFill>
            <a:srgbClr val="ED1B2F"/>
          </a:solidFill>
        </p:grpSpPr>
        <p:sp>
          <p:nvSpPr>
            <p:cNvPr id="28" name="Freeform: Shape 154">
              <a:extLst>
                <a:ext uri="{FF2B5EF4-FFF2-40B4-BE49-F238E27FC236}">
                  <a16:creationId xmlns:a16="http://schemas.microsoft.com/office/drawing/2014/main" id="{2A038165-CB73-4537-9AD9-9446E3EF1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9484" y="2633946"/>
              <a:ext cx="1410595" cy="2344083"/>
            </a:xfrm>
            <a:custGeom>
              <a:avLst/>
              <a:gdLst>
                <a:gd name="connsiteX0" fmla="*/ 1007578 w 1410595"/>
                <a:gd name="connsiteY0" fmla="*/ 1980833 h 2344083"/>
                <a:gd name="connsiteX1" fmla="*/ 1007568 w 1410595"/>
                <a:gd name="connsiteY1" fmla="*/ 1980991 h 2344083"/>
                <a:gd name="connsiteX2" fmla="*/ 1007568 w 1410595"/>
                <a:gd name="connsiteY2" fmla="*/ 1980834 h 2344083"/>
                <a:gd name="connsiteX3" fmla="*/ 1543 w 1410595"/>
                <a:gd name="connsiteY3" fmla="*/ 1846226 h 2344083"/>
                <a:gd name="connsiteX4" fmla="*/ 92202 w 1410595"/>
                <a:gd name="connsiteY4" fmla="*/ 1846226 h 2344083"/>
                <a:gd name="connsiteX5" fmla="*/ 91353 w 1410595"/>
                <a:gd name="connsiteY5" fmla="*/ 1871529 h 2344083"/>
                <a:gd name="connsiteX6" fmla="*/ 161211 w 1410595"/>
                <a:gd name="connsiteY6" fmla="*/ 2127829 h 2344083"/>
                <a:gd name="connsiteX7" fmla="*/ 346604 w 1410595"/>
                <a:gd name="connsiteY7" fmla="*/ 2213263 h 2344083"/>
                <a:gd name="connsiteX8" fmla="*/ 416462 w 1410595"/>
                <a:gd name="connsiteY8" fmla="*/ 2207923 h 2344083"/>
                <a:gd name="connsiteX9" fmla="*/ 421835 w 1410595"/>
                <a:gd name="connsiteY9" fmla="*/ 2205254 h 2344083"/>
                <a:gd name="connsiteX10" fmla="*/ 424522 w 1410595"/>
                <a:gd name="connsiteY10" fmla="*/ 2205254 h 2344083"/>
                <a:gd name="connsiteX11" fmla="*/ 446017 w 1410595"/>
                <a:gd name="connsiteY11" fmla="*/ 2205254 h 2344083"/>
                <a:gd name="connsiteX12" fmla="*/ 456764 w 1410595"/>
                <a:gd name="connsiteY12" fmla="*/ 2221272 h 2344083"/>
                <a:gd name="connsiteX13" fmla="*/ 537370 w 1410595"/>
                <a:gd name="connsiteY13" fmla="*/ 2255980 h 2344083"/>
                <a:gd name="connsiteX14" fmla="*/ 628723 w 1410595"/>
                <a:gd name="connsiteY14" fmla="*/ 2205254 h 2344083"/>
                <a:gd name="connsiteX15" fmla="*/ 655591 w 1410595"/>
                <a:gd name="connsiteY15" fmla="*/ 2162537 h 2344083"/>
                <a:gd name="connsiteX16" fmla="*/ 693207 w 1410595"/>
                <a:gd name="connsiteY16" fmla="*/ 2197244 h 2344083"/>
                <a:gd name="connsiteX17" fmla="*/ 741570 w 1410595"/>
                <a:gd name="connsiteY17" fmla="*/ 2213263 h 2344083"/>
                <a:gd name="connsiteX18" fmla="*/ 795307 w 1410595"/>
                <a:gd name="connsiteY18" fmla="*/ 2194574 h 2344083"/>
                <a:gd name="connsiteX19" fmla="*/ 816802 w 1410595"/>
                <a:gd name="connsiteY19" fmla="*/ 2146518 h 2344083"/>
                <a:gd name="connsiteX20" fmla="*/ 814115 w 1410595"/>
                <a:gd name="connsiteY20" fmla="*/ 2127829 h 2344083"/>
                <a:gd name="connsiteX21" fmla="*/ 797994 w 1410595"/>
                <a:gd name="connsiteY21" fmla="*/ 2063754 h 2344083"/>
                <a:gd name="connsiteX22" fmla="*/ 862478 w 1410595"/>
                <a:gd name="connsiteY22" fmla="*/ 2071764 h 2344083"/>
                <a:gd name="connsiteX23" fmla="*/ 875912 w 1410595"/>
                <a:gd name="connsiteY23" fmla="*/ 2074434 h 2344083"/>
                <a:gd name="connsiteX24" fmla="*/ 937710 w 1410595"/>
                <a:gd name="connsiteY24" fmla="*/ 2047736 h 2344083"/>
                <a:gd name="connsiteX25" fmla="*/ 961891 w 1410595"/>
                <a:gd name="connsiteY25" fmla="*/ 1994340 h 2344083"/>
                <a:gd name="connsiteX26" fmla="*/ 961891 w 1410595"/>
                <a:gd name="connsiteY26" fmla="*/ 1986330 h 2344083"/>
                <a:gd name="connsiteX27" fmla="*/ 956518 w 1410595"/>
                <a:gd name="connsiteY27" fmla="*/ 1932934 h 2344083"/>
                <a:gd name="connsiteX28" fmla="*/ 1007568 w 1410595"/>
                <a:gd name="connsiteY28" fmla="*/ 1938274 h 2344083"/>
                <a:gd name="connsiteX29" fmla="*/ 1007568 w 1410595"/>
                <a:gd name="connsiteY29" fmla="*/ 1980834 h 2344083"/>
                <a:gd name="connsiteX30" fmla="*/ 1004881 w 1410595"/>
                <a:gd name="connsiteY30" fmla="*/ 1980991 h 2344083"/>
                <a:gd name="connsiteX31" fmla="*/ 1002194 w 1410595"/>
                <a:gd name="connsiteY31" fmla="*/ 2026377 h 2344083"/>
                <a:gd name="connsiteX32" fmla="*/ 1004881 w 1410595"/>
                <a:gd name="connsiteY32" fmla="*/ 2026377 h 2344083"/>
                <a:gd name="connsiteX33" fmla="*/ 1007568 w 1410595"/>
                <a:gd name="connsiteY33" fmla="*/ 2026377 h 2344083"/>
                <a:gd name="connsiteX34" fmla="*/ 1044876 w 1410595"/>
                <a:gd name="connsiteY34" fmla="*/ 2022285 h 2344083"/>
                <a:gd name="connsiteX35" fmla="*/ 1037123 w 1410595"/>
                <a:gd name="connsiteY35" fmla="*/ 2060417 h 2344083"/>
                <a:gd name="connsiteX36" fmla="*/ 999507 w 1410595"/>
                <a:gd name="connsiteY36" fmla="*/ 2114480 h 2344083"/>
                <a:gd name="connsiteX37" fmla="*/ 943755 w 1410595"/>
                <a:gd name="connsiteY37" fmla="*/ 2149522 h 2344083"/>
                <a:gd name="connsiteX38" fmla="*/ 904239 w 1410595"/>
                <a:gd name="connsiteY38" fmla="*/ 2157103 h 2344083"/>
                <a:gd name="connsiteX39" fmla="*/ 905468 w 1410595"/>
                <a:gd name="connsiteY39" fmla="*/ 2146518 h 2344083"/>
                <a:gd name="connsiteX40" fmla="*/ 900094 w 1410595"/>
                <a:gd name="connsiteY40" fmla="*/ 2106471 h 2344083"/>
                <a:gd name="connsiteX41" fmla="*/ 857104 w 1410595"/>
                <a:gd name="connsiteY41" fmla="*/ 2117150 h 2344083"/>
                <a:gd name="connsiteX42" fmla="*/ 851731 w 1410595"/>
                <a:gd name="connsiteY42" fmla="*/ 2159867 h 2344083"/>
                <a:gd name="connsiteX43" fmla="*/ 875912 w 1410595"/>
                <a:gd name="connsiteY43" fmla="*/ 2162537 h 2344083"/>
                <a:gd name="connsiteX44" fmla="*/ 904239 w 1410595"/>
                <a:gd name="connsiteY44" fmla="*/ 2157103 h 2344083"/>
                <a:gd name="connsiteX45" fmla="*/ 901648 w 1410595"/>
                <a:gd name="connsiteY45" fmla="*/ 2179432 h 2344083"/>
                <a:gd name="connsiteX46" fmla="*/ 854418 w 1410595"/>
                <a:gd name="connsiteY46" fmla="*/ 2258650 h 2344083"/>
                <a:gd name="connsiteX47" fmla="*/ 741570 w 1410595"/>
                <a:gd name="connsiteY47" fmla="*/ 2304036 h 2344083"/>
                <a:gd name="connsiteX48" fmla="*/ 685818 w 1410595"/>
                <a:gd name="connsiteY48" fmla="*/ 2294024 h 2344083"/>
                <a:gd name="connsiteX49" fmla="*/ 672536 w 1410595"/>
                <a:gd name="connsiteY49" fmla="*/ 2286311 h 2344083"/>
                <a:gd name="connsiteX50" fmla="*/ 701267 w 1410595"/>
                <a:gd name="connsiteY50" fmla="*/ 2253310 h 2344083"/>
                <a:gd name="connsiteX51" fmla="*/ 663652 w 1410595"/>
                <a:gd name="connsiteY51" fmla="*/ 2229282 h 2344083"/>
                <a:gd name="connsiteX52" fmla="*/ 634096 w 1410595"/>
                <a:gd name="connsiteY52" fmla="*/ 2263989 h 2344083"/>
                <a:gd name="connsiteX53" fmla="*/ 672536 w 1410595"/>
                <a:gd name="connsiteY53" fmla="*/ 2286311 h 2344083"/>
                <a:gd name="connsiteX54" fmla="*/ 667346 w 1410595"/>
                <a:gd name="connsiteY54" fmla="*/ 2292273 h 2344083"/>
                <a:gd name="connsiteX55" fmla="*/ 537370 w 1410595"/>
                <a:gd name="connsiteY55" fmla="*/ 2344083 h 2344083"/>
                <a:gd name="connsiteX56" fmla="*/ 459787 w 1410595"/>
                <a:gd name="connsiteY56" fmla="*/ 2328064 h 2344083"/>
                <a:gd name="connsiteX57" fmla="*/ 414234 w 1410595"/>
                <a:gd name="connsiteY57" fmla="*/ 2295636 h 2344083"/>
                <a:gd name="connsiteX58" fmla="*/ 424522 w 1410595"/>
                <a:gd name="connsiteY58" fmla="*/ 2294358 h 2344083"/>
                <a:gd name="connsiteX59" fmla="*/ 432583 w 1410595"/>
                <a:gd name="connsiteY59" fmla="*/ 2293357 h 2344083"/>
                <a:gd name="connsiteX60" fmla="*/ 424522 w 1410595"/>
                <a:gd name="connsiteY60" fmla="*/ 2250640 h 2344083"/>
                <a:gd name="connsiteX61" fmla="*/ 392280 w 1410595"/>
                <a:gd name="connsiteY61" fmla="*/ 2280008 h 2344083"/>
                <a:gd name="connsiteX62" fmla="*/ 414234 w 1410595"/>
                <a:gd name="connsiteY62" fmla="*/ 2295636 h 2344083"/>
                <a:gd name="connsiteX63" fmla="*/ 346604 w 1410595"/>
                <a:gd name="connsiteY63" fmla="*/ 2304036 h 2344083"/>
                <a:gd name="connsiteX64" fmla="*/ 91353 w 1410595"/>
                <a:gd name="connsiteY64" fmla="*/ 2183895 h 2344083"/>
                <a:gd name="connsiteX65" fmla="*/ 0 w 1410595"/>
                <a:gd name="connsiteY65" fmla="*/ 1871529 h 2344083"/>
                <a:gd name="connsiteX66" fmla="*/ 660965 w 1410595"/>
                <a:gd name="connsiteY66" fmla="*/ 0 h 2344083"/>
                <a:gd name="connsiteX67" fmla="*/ 736196 w 1410595"/>
                <a:gd name="connsiteY67" fmla="*/ 15685 h 2344083"/>
                <a:gd name="connsiteX68" fmla="*/ 779586 w 1410595"/>
                <a:gd name="connsiteY68" fmla="*/ 45219 h 2344083"/>
                <a:gd name="connsiteX69" fmla="*/ 757691 w 1410595"/>
                <a:gd name="connsiteY69" fmla="*/ 48056 h 2344083"/>
                <a:gd name="connsiteX70" fmla="*/ 768438 w 1410595"/>
                <a:gd name="connsiteY70" fmla="*/ 90773 h 2344083"/>
                <a:gd name="connsiteX71" fmla="*/ 803367 w 1410595"/>
                <a:gd name="connsiteY71" fmla="*/ 61405 h 2344083"/>
                <a:gd name="connsiteX72" fmla="*/ 779586 w 1410595"/>
                <a:gd name="connsiteY72" fmla="*/ 45219 h 2344083"/>
                <a:gd name="connsiteX73" fmla="*/ 819488 w 1410595"/>
                <a:gd name="connsiteY73" fmla="*/ 40047 h 2344083"/>
                <a:gd name="connsiteX74" fmla="*/ 1051061 w 1410595"/>
                <a:gd name="connsiteY74" fmla="*/ 231678 h 2344083"/>
                <a:gd name="connsiteX75" fmla="*/ 1054935 w 1410595"/>
                <a:gd name="connsiteY75" fmla="*/ 270374 h 2344083"/>
                <a:gd name="connsiteX76" fmla="*/ 1029063 w 1410595"/>
                <a:gd name="connsiteY76" fmla="*/ 253631 h 2344083"/>
                <a:gd name="connsiteX77" fmla="*/ 1010255 w 1410595"/>
                <a:gd name="connsiteY77" fmla="*/ 293678 h 2344083"/>
                <a:gd name="connsiteX78" fmla="*/ 1055931 w 1410595"/>
                <a:gd name="connsiteY78" fmla="*/ 299018 h 2344083"/>
                <a:gd name="connsiteX79" fmla="*/ 1055931 w 1410595"/>
                <a:gd name="connsiteY79" fmla="*/ 280329 h 2344083"/>
                <a:gd name="connsiteX80" fmla="*/ 1054935 w 1410595"/>
                <a:gd name="connsiteY80" fmla="*/ 270374 h 2344083"/>
                <a:gd name="connsiteX81" fmla="*/ 1089139 w 1410595"/>
                <a:gd name="connsiteY81" fmla="*/ 292510 h 2344083"/>
                <a:gd name="connsiteX82" fmla="*/ 1174152 w 1410595"/>
                <a:gd name="connsiteY82" fmla="*/ 483234 h 2344083"/>
                <a:gd name="connsiteX83" fmla="*/ 1170458 w 1410595"/>
                <a:gd name="connsiteY83" fmla="*/ 524616 h 2344083"/>
                <a:gd name="connsiteX84" fmla="*/ 1169206 w 1410595"/>
                <a:gd name="connsiteY84" fmla="*/ 529936 h 2344083"/>
                <a:gd name="connsiteX85" fmla="*/ 1133850 w 1410595"/>
                <a:gd name="connsiteY85" fmla="*/ 509932 h 2344083"/>
                <a:gd name="connsiteX86" fmla="*/ 1117729 w 1410595"/>
                <a:gd name="connsiteY86" fmla="*/ 552648 h 2344083"/>
                <a:gd name="connsiteX87" fmla="*/ 1160718 w 1410595"/>
                <a:gd name="connsiteY87" fmla="*/ 565997 h 2344083"/>
                <a:gd name="connsiteX88" fmla="*/ 1169206 w 1410595"/>
                <a:gd name="connsiteY88" fmla="*/ 529936 h 2344083"/>
                <a:gd name="connsiteX89" fmla="*/ 1204925 w 1410595"/>
                <a:gd name="connsiteY89" fmla="*/ 550146 h 2344083"/>
                <a:gd name="connsiteX90" fmla="*/ 1305808 w 1410595"/>
                <a:gd name="connsiteY90" fmla="*/ 752883 h 2344083"/>
                <a:gd name="connsiteX91" fmla="*/ 1298083 w 1410595"/>
                <a:gd name="connsiteY91" fmla="*/ 812954 h 2344083"/>
                <a:gd name="connsiteX92" fmla="*/ 1290153 w 1410595"/>
                <a:gd name="connsiteY92" fmla="*/ 834774 h 2344083"/>
                <a:gd name="connsiteX93" fmla="*/ 1254758 w 1410595"/>
                <a:gd name="connsiteY93" fmla="*/ 811619 h 2344083"/>
                <a:gd name="connsiteX94" fmla="*/ 1235950 w 1410595"/>
                <a:gd name="connsiteY94" fmla="*/ 851666 h 2344083"/>
                <a:gd name="connsiteX95" fmla="*/ 1276253 w 1410595"/>
                <a:gd name="connsiteY95" fmla="*/ 873024 h 2344083"/>
                <a:gd name="connsiteX96" fmla="*/ 1290153 w 1410595"/>
                <a:gd name="connsiteY96" fmla="*/ 834774 h 2344083"/>
                <a:gd name="connsiteX97" fmla="*/ 1318781 w 1410595"/>
                <a:gd name="connsiteY97" fmla="*/ 853501 h 2344083"/>
                <a:gd name="connsiteX98" fmla="*/ 1410595 w 1410595"/>
                <a:gd name="connsiteY98" fmla="*/ 1065250 h 2344083"/>
                <a:gd name="connsiteX99" fmla="*/ 1351652 w 1410595"/>
                <a:gd name="connsiteY99" fmla="*/ 1242458 h 2344083"/>
                <a:gd name="connsiteX100" fmla="*/ 1337871 w 1410595"/>
                <a:gd name="connsiteY100" fmla="*/ 1256631 h 2344083"/>
                <a:gd name="connsiteX101" fmla="*/ 1313868 w 1410595"/>
                <a:gd name="connsiteY101" fmla="*/ 1220098 h 2344083"/>
                <a:gd name="connsiteX102" fmla="*/ 1281626 w 1410595"/>
                <a:gd name="connsiteY102" fmla="*/ 1252136 h 2344083"/>
                <a:gd name="connsiteX103" fmla="*/ 1308495 w 1410595"/>
                <a:gd name="connsiteY103" fmla="*/ 1286843 h 2344083"/>
                <a:gd name="connsiteX104" fmla="*/ 1337871 w 1410595"/>
                <a:gd name="connsiteY104" fmla="*/ 1256631 h 2344083"/>
                <a:gd name="connsiteX105" fmla="*/ 1356186 w 1410595"/>
                <a:gd name="connsiteY105" fmla="*/ 1284507 h 2344083"/>
                <a:gd name="connsiteX106" fmla="*/ 1370292 w 1410595"/>
                <a:gd name="connsiteY106" fmla="*/ 1358928 h 2344083"/>
                <a:gd name="connsiteX107" fmla="*/ 1309082 w 1410595"/>
                <a:gd name="connsiteY107" fmla="*/ 1498967 h 2344083"/>
                <a:gd name="connsiteX108" fmla="*/ 1294714 w 1410595"/>
                <a:gd name="connsiteY108" fmla="*/ 1509370 h 2344083"/>
                <a:gd name="connsiteX109" fmla="*/ 1281626 w 1410595"/>
                <a:gd name="connsiteY109" fmla="*/ 1473729 h 2344083"/>
                <a:gd name="connsiteX110" fmla="*/ 1241324 w 1410595"/>
                <a:gd name="connsiteY110" fmla="*/ 1492417 h 2344083"/>
                <a:gd name="connsiteX111" fmla="*/ 1262818 w 1410595"/>
                <a:gd name="connsiteY111" fmla="*/ 1532464 h 2344083"/>
                <a:gd name="connsiteX112" fmla="*/ 1294714 w 1410595"/>
                <a:gd name="connsiteY112" fmla="*/ 1509370 h 2344083"/>
                <a:gd name="connsiteX113" fmla="*/ 1299762 w 1410595"/>
                <a:gd name="connsiteY113" fmla="*/ 1523120 h 2344083"/>
                <a:gd name="connsiteX114" fmla="*/ 1305808 w 1410595"/>
                <a:gd name="connsiteY114" fmla="*/ 1572511 h 2344083"/>
                <a:gd name="connsiteX115" fmla="*/ 1260132 w 1410595"/>
                <a:gd name="connsiteY115" fmla="*/ 1708671 h 2344083"/>
                <a:gd name="connsiteX116" fmla="*/ 1206395 w 1410595"/>
                <a:gd name="connsiteY116" fmla="*/ 1759398 h 2344083"/>
                <a:gd name="connsiteX117" fmla="*/ 1186368 w 1410595"/>
                <a:gd name="connsiteY117" fmla="*/ 1767051 h 2344083"/>
                <a:gd name="connsiteX118" fmla="*/ 1166092 w 1410595"/>
                <a:gd name="connsiteY118" fmla="*/ 1719350 h 2344083"/>
                <a:gd name="connsiteX119" fmla="*/ 1125789 w 1410595"/>
                <a:gd name="connsiteY119" fmla="*/ 1743379 h 2344083"/>
                <a:gd name="connsiteX120" fmla="*/ 1136536 w 1410595"/>
                <a:gd name="connsiteY120" fmla="*/ 1786095 h 2344083"/>
                <a:gd name="connsiteX121" fmla="*/ 1186368 w 1410595"/>
                <a:gd name="connsiteY121" fmla="*/ 1767051 h 2344083"/>
                <a:gd name="connsiteX122" fmla="*/ 1188930 w 1410595"/>
                <a:gd name="connsiteY122" fmla="*/ 1773080 h 2344083"/>
                <a:gd name="connsiteX123" fmla="*/ 1195647 w 1410595"/>
                <a:gd name="connsiteY123" fmla="*/ 1828812 h 2344083"/>
                <a:gd name="connsiteX124" fmla="*/ 1144597 w 1410595"/>
                <a:gd name="connsiteY124" fmla="*/ 1964972 h 2344083"/>
                <a:gd name="connsiteX125" fmla="*/ 1047115 w 1410595"/>
                <a:gd name="connsiteY125" fmla="*/ 2022039 h 2344083"/>
                <a:gd name="connsiteX126" fmla="*/ 1044876 w 1410595"/>
                <a:gd name="connsiteY126" fmla="*/ 2022285 h 2344083"/>
                <a:gd name="connsiteX127" fmla="*/ 1050557 w 1410595"/>
                <a:gd name="connsiteY127" fmla="*/ 1994340 h 2344083"/>
                <a:gd name="connsiteX128" fmla="*/ 1050557 w 1410595"/>
                <a:gd name="connsiteY128" fmla="*/ 1978321 h 2344083"/>
                <a:gd name="connsiteX129" fmla="*/ 1007578 w 1410595"/>
                <a:gd name="connsiteY129" fmla="*/ 1980833 h 2344083"/>
                <a:gd name="connsiteX130" fmla="*/ 1010255 w 1410595"/>
                <a:gd name="connsiteY130" fmla="*/ 1938274 h 2344083"/>
                <a:gd name="connsiteX131" fmla="*/ 1007568 w 1410595"/>
                <a:gd name="connsiteY131" fmla="*/ 1938274 h 2344083"/>
                <a:gd name="connsiteX132" fmla="*/ 1077426 w 1410595"/>
                <a:gd name="connsiteY132" fmla="*/ 1906236 h 2344083"/>
                <a:gd name="connsiteX133" fmla="*/ 1106981 w 1410595"/>
                <a:gd name="connsiteY133" fmla="*/ 1828812 h 2344083"/>
                <a:gd name="connsiteX134" fmla="*/ 1088173 w 1410595"/>
                <a:gd name="connsiteY134" fmla="*/ 1767407 h 2344083"/>
                <a:gd name="connsiteX135" fmla="*/ 1053244 w 1410595"/>
                <a:gd name="connsiteY135" fmla="*/ 1711341 h 2344083"/>
                <a:gd name="connsiteX136" fmla="*/ 1117729 w 1410595"/>
                <a:gd name="connsiteY136" fmla="*/ 1700662 h 2344083"/>
                <a:gd name="connsiteX137" fmla="*/ 1187587 w 1410595"/>
                <a:gd name="connsiteY137" fmla="*/ 1655275 h 2344083"/>
                <a:gd name="connsiteX138" fmla="*/ 1214455 w 1410595"/>
                <a:gd name="connsiteY138" fmla="*/ 1572511 h 2344083"/>
                <a:gd name="connsiteX139" fmla="*/ 1201021 w 1410595"/>
                <a:gd name="connsiteY139" fmla="*/ 1511106 h 2344083"/>
                <a:gd name="connsiteX140" fmla="*/ 1182213 w 1410595"/>
                <a:gd name="connsiteY140" fmla="*/ 1473729 h 2344083"/>
                <a:gd name="connsiteX141" fmla="*/ 1219829 w 1410595"/>
                <a:gd name="connsiteY141" fmla="*/ 1452371 h 2344083"/>
                <a:gd name="connsiteX142" fmla="*/ 1278940 w 1410595"/>
                <a:gd name="connsiteY142" fmla="*/ 1358928 h 2344083"/>
                <a:gd name="connsiteX143" fmla="*/ 1249384 w 1410595"/>
                <a:gd name="connsiteY143" fmla="*/ 1281503 h 2344083"/>
                <a:gd name="connsiteX144" fmla="*/ 1214455 w 1410595"/>
                <a:gd name="connsiteY144" fmla="*/ 1246796 h 2344083"/>
                <a:gd name="connsiteX145" fmla="*/ 1252071 w 1410595"/>
                <a:gd name="connsiteY145" fmla="*/ 1217428 h 2344083"/>
                <a:gd name="connsiteX146" fmla="*/ 1321929 w 1410595"/>
                <a:gd name="connsiteY146" fmla="*/ 1065250 h 2344083"/>
                <a:gd name="connsiteX147" fmla="*/ 1217142 w 1410595"/>
                <a:gd name="connsiteY147" fmla="*/ 891713 h 2344083"/>
                <a:gd name="connsiteX148" fmla="*/ 1174152 w 1410595"/>
                <a:gd name="connsiteY148" fmla="*/ 873024 h 2344083"/>
                <a:gd name="connsiteX149" fmla="*/ 1195647 w 1410595"/>
                <a:gd name="connsiteY149" fmla="*/ 830307 h 2344083"/>
                <a:gd name="connsiteX150" fmla="*/ 1214455 w 1410595"/>
                <a:gd name="connsiteY150" fmla="*/ 752883 h 2344083"/>
                <a:gd name="connsiteX151" fmla="*/ 1101608 w 1410595"/>
                <a:gd name="connsiteY151" fmla="*/ 595365 h 2344083"/>
                <a:gd name="connsiteX152" fmla="*/ 1061305 w 1410595"/>
                <a:gd name="connsiteY152" fmla="*/ 579346 h 2344083"/>
                <a:gd name="connsiteX153" fmla="*/ 1074739 w 1410595"/>
                <a:gd name="connsiteY153" fmla="*/ 539299 h 2344083"/>
                <a:gd name="connsiteX154" fmla="*/ 1085486 w 1410595"/>
                <a:gd name="connsiteY154" fmla="*/ 483234 h 2344083"/>
                <a:gd name="connsiteX155" fmla="*/ 991447 w 1410595"/>
                <a:gd name="connsiteY155" fmla="*/ 336395 h 2344083"/>
                <a:gd name="connsiteX156" fmla="*/ 961891 w 1410595"/>
                <a:gd name="connsiteY156" fmla="*/ 323046 h 2344083"/>
                <a:gd name="connsiteX157" fmla="*/ 964578 w 1410595"/>
                <a:gd name="connsiteY157" fmla="*/ 291008 h 2344083"/>
                <a:gd name="connsiteX158" fmla="*/ 967265 w 1410595"/>
                <a:gd name="connsiteY158" fmla="*/ 280329 h 2344083"/>
                <a:gd name="connsiteX159" fmla="*/ 921589 w 1410595"/>
                <a:gd name="connsiteY159" fmla="*/ 173537 h 2344083"/>
                <a:gd name="connsiteX160" fmla="*/ 819488 w 1410595"/>
                <a:gd name="connsiteY160" fmla="*/ 130820 h 2344083"/>
                <a:gd name="connsiteX161" fmla="*/ 781873 w 1410595"/>
                <a:gd name="connsiteY161" fmla="*/ 133490 h 2344083"/>
                <a:gd name="connsiteX162" fmla="*/ 755004 w 1410595"/>
                <a:gd name="connsiteY162" fmla="*/ 141499 h 2344083"/>
                <a:gd name="connsiteX163" fmla="*/ 736196 w 1410595"/>
                <a:gd name="connsiteY163" fmla="*/ 122811 h 2344083"/>
                <a:gd name="connsiteX164" fmla="*/ 660965 w 1410595"/>
                <a:gd name="connsiteY164" fmla="*/ 88103 h 2344083"/>
                <a:gd name="connsiteX165" fmla="*/ 564238 w 1410595"/>
                <a:gd name="connsiteY165" fmla="*/ 149509 h 2344083"/>
                <a:gd name="connsiteX166" fmla="*/ 548117 w 1410595"/>
                <a:gd name="connsiteY166" fmla="*/ 178877 h 2344083"/>
                <a:gd name="connsiteX167" fmla="*/ 515875 w 1410595"/>
                <a:gd name="connsiteY167" fmla="*/ 170867 h 2344083"/>
                <a:gd name="connsiteX168" fmla="*/ 475572 w 1410595"/>
                <a:gd name="connsiteY168" fmla="*/ 168197 h 2344083"/>
                <a:gd name="connsiteX169" fmla="*/ 354664 w 1410595"/>
                <a:gd name="connsiteY169" fmla="*/ 218924 h 2344083"/>
                <a:gd name="connsiteX170" fmla="*/ 303614 w 1410595"/>
                <a:gd name="connsiteY170" fmla="*/ 336395 h 2344083"/>
                <a:gd name="connsiteX171" fmla="*/ 338543 w 1410595"/>
                <a:gd name="connsiteY171" fmla="*/ 432507 h 2344083"/>
                <a:gd name="connsiteX172" fmla="*/ 389593 w 1410595"/>
                <a:gd name="connsiteY172" fmla="*/ 499252 h 2344083"/>
                <a:gd name="connsiteX173" fmla="*/ 303614 w 1410595"/>
                <a:gd name="connsiteY173" fmla="*/ 504592 h 2344083"/>
                <a:gd name="connsiteX174" fmla="*/ 177332 w 1410595"/>
                <a:gd name="connsiteY174" fmla="*/ 563328 h 2344083"/>
                <a:gd name="connsiteX175" fmla="*/ 138694 w 1410595"/>
                <a:gd name="connsiteY175" fmla="*/ 622321 h 2344083"/>
                <a:gd name="connsiteX176" fmla="*/ 44525 w 1410595"/>
                <a:gd name="connsiteY176" fmla="*/ 622321 h 2344083"/>
                <a:gd name="connsiteX177" fmla="*/ 54409 w 1410595"/>
                <a:gd name="connsiteY177" fmla="*/ 590693 h 2344083"/>
                <a:gd name="connsiteX178" fmla="*/ 112848 w 1410595"/>
                <a:gd name="connsiteY178" fmla="*/ 501922 h 2344083"/>
                <a:gd name="connsiteX179" fmla="*/ 198827 w 1410595"/>
                <a:gd name="connsiteY179" fmla="*/ 439849 h 2344083"/>
                <a:gd name="connsiteX180" fmla="*/ 234881 w 1410595"/>
                <a:gd name="connsiteY180" fmla="*/ 426484 h 2344083"/>
                <a:gd name="connsiteX181" fmla="*/ 265998 w 1410595"/>
                <a:gd name="connsiteY181" fmla="*/ 485903 h 2344083"/>
                <a:gd name="connsiteX182" fmla="*/ 300927 w 1410595"/>
                <a:gd name="connsiteY182" fmla="*/ 459205 h 2344083"/>
                <a:gd name="connsiteX183" fmla="*/ 300927 w 1410595"/>
                <a:gd name="connsiteY183" fmla="*/ 413819 h 2344083"/>
                <a:gd name="connsiteX184" fmla="*/ 248114 w 1410595"/>
                <a:gd name="connsiteY184" fmla="*/ 421578 h 2344083"/>
                <a:gd name="connsiteX185" fmla="*/ 234881 w 1410595"/>
                <a:gd name="connsiteY185" fmla="*/ 426484 h 2344083"/>
                <a:gd name="connsiteX186" fmla="*/ 227375 w 1410595"/>
                <a:gd name="connsiteY186" fmla="*/ 412150 h 2344083"/>
                <a:gd name="connsiteX187" fmla="*/ 214948 w 1410595"/>
                <a:gd name="connsiteY187" fmla="*/ 336395 h 2344083"/>
                <a:gd name="connsiteX188" fmla="*/ 290180 w 1410595"/>
                <a:gd name="connsiteY188" fmla="*/ 157518 h 2344083"/>
                <a:gd name="connsiteX189" fmla="*/ 475572 w 1410595"/>
                <a:gd name="connsiteY189" fmla="*/ 77424 h 2344083"/>
                <a:gd name="connsiteX190" fmla="*/ 504748 w 1410595"/>
                <a:gd name="connsiteY190" fmla="*/ 81378 h 2344083"/>
                <a:gd name="connsiteX191" fmla="*/ 486320 w 1410595"/>
                <a:gd name="connsiteY191" fmla="*/ 106792 h 2344083"/>
                <a:gd name="connsiteX192" fmla="*/ 526622 w 1410595"/>
                <a:gd name="connsiteY192" fmla="*/ 128150 h 2344083"/>
                <a:gd name="connsiteX193" fmla="*/ 534683 w 1410595"/>
                <a:gd name="connsiteY193" fmla="*/ 85434 h 2344083"/>
                <a:gd name="connsiteX194" fmla="*/ 504748 w 1410595"/>
                <a:gd name="connsiteY194" fmla="*/ 81378 h 2344083"/>
                <a:gd name="connsiteX195" fmla="*/ 519653 w 1410595"/>
                <a:gd name="connsiteY195" fmla="*/ 60822 h 2344083"/>
                <a:gd name="connsiteX196" fmla="*/ 660965 w 1410595"/>
                <a:gd name="connsiteY196" fmla="*/ 0 h 2344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</a:cxnLst>
              <a:rect l="l" t="t" r="r" b="b"/>
              <a:pathLst>
                <a:path w="1410595" h="2344083">
                  <a:moveTo>
                    <a:pt x="1007578" y="1980833"/>
                  </a:moveTo>
                  <a:lnTo>
                    <a:pt x="1007568" y="1980991"/>
                  </a:lnTo>
                  <a:lnTo>
                    <a:pt x="1007568" y="1980834"/>
                  </a:lnTo>
                  <a:close/>
                  <a:moveTo>
                    <a:pt x="1543" y="1846226"/>
                  </a:moveTo>
                  <a:lnTo>
                    <a:pt x="92202" y="1846226"/>
                  </a:lnTo>
                  <a:lnTo>
                    <a:pt x="91353" y="1871529"/>
                  </a:lnTo>
                  <a:cubicBezTo>
                    <a:pt x="91353" y="1986330"/>
                    <a:pt x="118222" y="2074434"/>
                    <a:pt x="161211" y="2127829"/>
                  </a:cubicBezTo>
                  <a:cubicBezTo>
                    <a:pt x="206888" y="2183895"/>
                    <a:pt x="263311" y="2213263"/>
                    <a:pt x="346604" y="2213263"/>
                  </a:cubicBezTo>
                  <a:cubicBezTo>
                    <a:pt x="368098" y="2213263"/>
                    <a:pt x="392280" y="2213263"/>
                    <a:pt x="416462" y="2207923"/>
                  </a:cubicBezTo>
                  <a:lnTo>
                    <a:pt x="421835" y="2205254"/>
                  </a:lnTo>
                  <a:lnTo>
                    <a:pt x="424522" y="2205254"/>
                  </a:lnTo>
                  <a:lnTo>
                    <a:pt x="446017" y="2205254"/>
                  </a:lnTo>
                  <a:lnTo>
                    <a:pt x="456764" y="2221272"/>
                  </a:lnTo>
                  <a:cubicBezTo>
                    <a:pt x="480946" y="2245301"/>
                    <a:pt x="507814" y="2255980"/>
                    <a:pt x="537370" y="2255980"/>
                  </a:cubicBezTo>
                  <a:cubicBezTo>
                    <a:pt x="569612" y="2255980"/>
                    <a:pt x="601854" y="2239961"/>
                    <a:pt x="628723" y="2205254"/>
                  </a:cubicBezTo>
                  <a:lnTo>
                    <a:pt x="655591" y="2162537"/>
                  </a:lnTo>
                  <a:lnTo>
                    <a:pt x="693207" y="2197244"/>
                  </a:lnTo>
                  <a:cubicBezTo>
                    <a:pt x="709328" y="2210593"/>
                    <a:pt x="725449" y="2213263"/>
                    <a:pt x="741570" y="2213263"/>
                  </a:cubicBezTo>
                  <a:cubicBezTo>
                    <a:pt x="760378" y="2215933"/>
                    <a:pt x="779186" y="2207923"/>
                    <a:pt x="795307" y="2194574"/>
                  </a:cubicBezTo>
                  <a:cubicBezTo>
                    <a:pt x="808741" y="2181225"/>
                    <a:pt x="816802" y="2165207"/>
                    <a:pt x="816802" y="2146518"/>
                  </a:cubicBezTo>
                  <a:cubicBezTo>
                    <a:pt x="816802" y="2141178"/>
                    <a:pt x="814115" y="2133169"/>
                    <a:pt x="814115" y="2127829"/>
                  </a:cubicBezTo>
                  <a:lnTo>
                    <a:pt x="797994" y="2063754"/>
                  </a:lnTo>
                  <a:lnTo>
                    <a:pt x="862478" y="2071764"/>
                  </a:lnTo>
                  <a:cubicBezTo>
                    <a:pt x="867852" y="2074434"/>
                    <a:pt x="870539" y="2074434"/>
                    <a:pt x="875912" y="2074434"/>
                  </a:cubicBezTo>
                  <a:cubicBezTo>
                    <a:pt x="900094" y="2074434"/>
                    <a:pt x="921589" y="2063754"/>
                    <a:pt x="937710" y="2047736"/>
                  </a:cubicBezTo>
                  <a:cubicBezTo>
                    <a:pt x="951144" y="2034387"/>
                    <a:pt x="961891" y="2015698"/>
                    <a:pt x="961891" y="1994340"/>
                  </a:cubicBezTo>
                  <a:lnTo>
                    <a:pt x="961891" y="1986330"/>
                  </a:lnTo>
                  <a:lnTo>
                    <a:pt x="956518" y="1932934"/>
                  </a:lnTo>
                  <a:lnTo>
                    <a:pt x="1007568" y="1938274"/>
                  </a:lnTo>
                  <a:lnTo>
                    <a:pt x="1007568" y="1980834"/>
                  </a:lnTo>
                  <a:lnTo>
                    <a:pt x="1004881" y="1980991"/>
                  </a:lnTo>
                  <a:lnTo>
                    <a:pt x="1002194" y="2026377"/>
                  </a:lnTo>
                  <a:lnTo>
                    <a:pt x="1004881" y="2026377"/>
                  </a:lnTo>
                  <a:lnTo>
                    <a:pt x="1007568" y="2026377"/>
                  </a:lnTo>
                  <a:lnTo>
                    <a:pt x="1044876" y="2022285"/>
                  </a:lnTo>
                  <a:lnTo>
                    <a:pt x="1037123" y="2060417"/>
                  </a:lnTo>
                  <a:cubicBezTo>
                    <a:pt x="1028391" y="2081108"/>
                    <a:pt x="1015628" y="2099796"/>
                    <a:pt x="999507" y="2114480"/>
                  </a:cubicBezTo>
                  <a:cubicBezTo>
                    <a:pt x="983386" y="2129164"/>
                    <a:pt x="964578" y="2141178"/>
                    <a:pt x="943755" y="2149522"/>
                  </a:cubicBezTo>
                  <a:lnTo>
                    <a:pt x="904239" y="2157103"/>
                  </a:lnTo>
                  <a:lnTo>
                    <a:pt x="905468" y="2146518"/>
                  </a:lnTo>
                  <a:cubicBezTo>
                    <a:pt x="905468" y="2133169"/>
                    <a:pt x="902781" y="2119820"/>
                    <a:pt x="900094" y="2106471"/>
                  </a:cubicBezTo>
                  <a:lnTo>
                    <a:pt x="857104" y="2117150"/>
                  </a:lnTo>
                  <a:lnTo>
                    <a:pt x="851731" y="2159867"/>
                  </a:lnTo>
                  <a:cubicBezTo>
                    <a:pt x="859791" y="2162537"/>
                    <a:pt x="867852" y="2162537"/>
                    <a:pt x="875912" y="2162537"/>
                  </a:cubicBezTo>
                  <a:lnTo>
                    <a:pt x="904239" y="2157103"/>
                  </a:lnTo>
                  <a:lnTo>
                    <a:pt x="901648" y="2179432"/>
                  </a:lnTo>
                  <a:cubicBezTo>
                    <a:pt x="894217" y="2211094"/>
                    <a:pt x="876584" y="2238626"/>
                    <a:pt x="854418" y="2258650"/>
                  </a:cubicBezTo>
                  <a:cubicBezTo>
                    <a:pt x="824862" y="2288017"/>
                    <a:pt x="784560" y="2304036"/>
                    <a:pt x="741570" y="2304036"/>
                  </a:cubicBezTo>
                  <a:cubicBezTo>
                    <a:pt x="722762" y="2304036"/>
                    <a:pt x="703954" y="2300699"/>
                    <a:pt x="685818" y="2294024"/>
                  </a:cubicBezTo>
                  <a:lnTo>
                    <a:pt x="672536" y="2286311"/>
                  </a:lnTo>
                  <a:lnTo>
                    <a:pt x="701267" y="2253310"/>
                  </a:lnTo>
                  <a:lnTo>
                    <a:pt x="663652" y="2229282"/>
                  </a:lnTo>
                  <a:lnTo>
                    <a:pt x="634096" y="2263989"/>
                  </a:lnTo>
                  <a:lnTo>
                    <a:pt x="672536" y="2286311"/>
                  </a:lnTo>
                  <a:lnTo>
                    <a:pt x="667346" y="2292273"/>
                  </a:lnTo>
                  <a:cubicBezTo>
                    <a:pt x="630066" y="2326062"/>
                    <a:pt x="583718" y="2344083"/>
                    <a:pt x="537370" y="2344083"/>
                  </a:cubicBezTo>
                  <a:cubicBezTo>
                    <a:pt x="510501" y="2344083"/>
                    <a:pt x="484305" y="2338744"/>
                    <a:pt x="459787" y="2328064"/>
                  </a:cubicBezTo>
                  <a:lnTo>
                    <a:pt x="414234" y="2295636"/>
                  </a:lnTo>
                  <a:lnTo>
                    <a:pt x="424522" y="2294358"/>
                  </a:lnTo>
                  <a:lnTo>
                    <a:pt x="432583" y="2293357"/>
                  </a:lnTo>
                  <a:lnTo>
                    <a:pt x="424522" y="2250640"/>
                  </a:lnTo>
                  <a:lnTo>
                    <a:pt x="392280" y="2280008"/>
                  </a:lnTo>
                  <a:lnTo>
                    <a:pt x="414234" y="2295636"/>
                  </a:lnTo>
                  <a:lnTo>
                    <a:pt x="346604" y="2304036"/>
                  </a:lnTo>
                  <a:cubicBezTo>
                    <a:pt x="241817" y="2304036"/>
                    <a:pt x="150464" y="2261319"/>
                    <a:pt x="91353" y="2183895"/>
                  </a:cubicBezTo>
                  <a:cubicBezTo>
                    <a:pt x="32242" y="2106471"/>
                    <a:pt x="2687" y="1999679"/>
                    <a:pt x="0" y="1871529"/>
                  </a:cubicBezTo>
                  <a:close/>
                  <a:moveTo>
                    <a:pt x="660965" y="0"/>
                  </a:moveTo>
                  <a:cubicBezTo>
                    <a:pt x="686490" y="0"/>
                    <a:pt x="712015" y="5340"/>
                    <a:pt x="736196" y="15685"/>
                  </a:cubicBezTo>
                  <a:lnTo>
                    <a:pt x="779586" y="45219"/>
                  </a:lnTo>
                  <a:lnTo>
                    <a:pt x="757691" y="48056"/>
                  </a:lnTo>
                  <a:lnTo>
                    <a:pt x="768438" y="90773"/>
                  </a:lnTo>
                  <a:lnTo>
                    <a:pt x="803367" y="61405"/>
                  </a:lnTo>
                  <a:lnTo>
                    <a:pt x="779586" y="45219"/>
                  </a:lnTo>
                  <a:lnTo>
                    <a:pt x="819488" y="40047"/>
                  </a:lnTo>
                  <a:cubicBezTo>
                    <a:pt x="932336" y="40047"/>
                    <a:pt x="1028727" y="121810"/>
                    <a:pt x="1051061" y="231678"/>
                  </a:cubicBezTo>
                  <a:lnTo>
                    <a:pt x="1054935" y="270374"/>
                  </a:lnTo>
                  <a:lnTo>
                    <a:pt x="1029063" y="253631"/>
                  </a:lnTo>
                  <a:lnTo>
                    <a:pt x="1010255" y="293678"/>
                  </a:lnTo>
                  <a:lnTo>
                    <a:pt x="1055931" y="299018"/>
                  </a:lnTo>
                  <a:cubicBezTo>
                    <a:pt x="1055931" y="291008"/>
                    <a:pt x="1055931" y="285669"/>
                    <a:pt x="1055931" y="280329"/>
                  </a:cubicBezTo>
                  <a:lnTo>
                    <a:pt x="1054935" y="270374"/>
                  </a:lnTo>
                  <a:lnTo>
                    <a:pt x="1089139" y="292510"/>
                  </a:lnTo>
                  <a:cubicBezTo>
                    <a:pt x="1142414" y="339565"/>
                    <a:pt x="1174152" y="409147"/>
                    <a:pt x="1174152" y="483234"/>
                  </a:cubicBezTo>
                  <a:cubicBezTo>
                    <a:pt x="1174152" y="496583"/>
                    <a:pt x="1172809" y="510599"/>
                    <a:pt x="1170458" y="524616"/>
                  </a:cubicBezTo>
                  <a:lnTo>
                    <a:pt x="1169206" y="529936"/>
                  </a:lnTo>
                  <a:lnTo>
                    <a:pt x="1133850" y="509932"/>
                  </a:lnTo>
                  <a:lnTo>
                    <a:pt x="1117729" y="552648"/>
                  </a:lnTo>
                  <a:lnTo>
                    <a:pt x="1160718" y="565997"/>
                  </a:lnTo>
                  <a:lnTo>
                    <a:pt x="1169206" y="529936"/>
                  </a:lnTo>
                  <a:lnTo>
                    <a:pt x="1204925" y="550146"/>
                  </a:lnTo>
                  <a:cubicBezTo>
                    <a:pt x="1268024" y="599704"/>
                    <a:pt x="1305808" y="674792"/>
                    <a:pt x="1305808" y="752883"/>
                  </a:cubicBezTo>
                  <a:cubicBezTo>
                    <a:pt x="1305808" y="772907"/>
                    <a:pt x="1303121" y="792930"/>
                    <a:pt x="1298083" y="812954"/>
                  </a:cubicBezTo>
                  <a:lnTo>
                    <a:pt x="1290153" y="834774"/>
                  </a:lnTo>
                  <a:lnTo>
                    <a:pt x="1254758" y="811619"/>
                  </a:lnTo>
                  <a:lnTo>
                    <a:pt x="1235950" y="851666"/>
                  </a:lnTo>
                  <a:lnTo>
                    <a:pt x="1276253" y="873024"/>
                  </a:lnTo>
                  <a:lnTo>
                    <a:pt x="1290153" y="834774"/>
                  </a:lnTo>
                  <a:lnTo>
                    <a:pt x="1318781" y="853501"/>
                  </a:lnTo>
                  <a:cubicBezTo>
                    <a:pt x="1375834" y="904561"/>
                    <a:pt x="1410595" y="981151"/>
                    <a:pt x="1410595" y="1065250"/>
                  </a:cubicBezTo>
                  <a:cubicBezTo>
                    <a:pt x="1410595" y="1133330"/>
                    <a:pt x="1389436" y="1193901"/>
                    <a:pt x="1351652" y="1242458"/>
                  </a:cubicBezTo>
                  <a:lnTo>
                    <a:pt x="1337871" y="1256631"/>
                  </a:lnTo>
                  <a:lnTo>
                    <a:pt x="1313868" y="1220098"/>
                  </a:lnTo>
                  <a:lnTo>
                    <a:pt x="1281626" y="1252136"/>
                  </a:lnTo>
                  <a:lnTo>
                    <a:pt x="1308495" y="1286843"/>
                  </a:lnTo>
                  <a:lnTo>
                    <a:pt x="1337871" y="1256631"/>
                  </a:lnTo>
                  <a:lnTo>
                    <a:pt x="1356186" y="1284507"/>
                  </a:lnTo>
                  <a:cubicBezTo>
                    <a:pt x="1365590" y="1308201"/>
                    <a:pt x="1370292" y="1333565"/>
                    <a:pt x="1370292" y="1358928"/>
                  </a:cubicBezTo>
                  <a:cubicBezTo>
                    <a:pt x="1370292" y="1408986"/>
                    <a:pt x="1349133" y="1460547"/>
                    <a:pt x="1309082" y="1498967"/>
                  </a:cubicBezTo>
                  <a:lnTo>
                    <a:pt x="1294714" y="1509370"/>
                  </a:lnTo>
                  <a:lnTo>
                    <a:pt x="1281626" y="1473729"/>
                  </a:lnTo>
                  <a:lnTo>
                    <a:pt x="1241324" y="1492417"/>
                  </a:lnTo>
                  <a:lnTo>
                    <a:pt x="1262818" y="1532464"/>
                  </a:lnTo>
                  <a:lnTo>
                    <a:pt x="1294714" y="1509370"/>
                  </a:lnTo>
                  <a:lnTo>
                    <a:pt x="1299762" y="1523120"/>
                  </a:lnTo>
                  <a:cubicBezTo>
                    <a:pt x="1303793" y="1539806"/>
                    <a:pt x="1305808" y="1556492"/>
                    <a:pt x="1305808" y="1572511"/>
                  </a:cubicBezTo>
                  <a:cubicBezTo>
                    <a:pt x="1305808" y="1623238"/>
                    <a:pt x="1289687" y="1671294"/>
                    <a:pt x="1260132" y="1708671"/>
                  </a:cubicBezTo>
                  <a:cubicBezTo>
                    <a:pt x="1245354" y="1728695"/>
                    <a:pt x="1227218" y="1746049"/>
                    <a:pt x="1206395" y="1759398"/>
                  </a:cubicBezTo>
                  <a:lnTo>
                    <a:pt x="1186368" y="1767051"/>
                  </a:lnTo>
                  <a:lnTo>
                    <a:pt x="1166092" y="1719350"/>
                  </a:lnTo>
                  <a:lnTo>
                    <a:pt x="1125789" y="1743379"/>
                  </a:lnTo>
                  <a:lnTo>
                    <a:pt x="1136536" y="1786095"/>
                  </a:lnTo>
                  <a:lnTo>
                    <a:pt x="1186368" y="1767051"/>
                  </a:lnTo>
                  <a:lnTo>
                    <a:pt x="1188930" y="1773080"/>
                  </a:lnTo>
                  <a:cubicBezTo>
                    <a:pt x="1193632" y="1791435"/>
                    <a:pt x="1195647" y="1810124"/>
                    <a:pt x="1195647" y="1828812"/>
                  </a:cubicBezTo>
                  <a:cubicBezTo>
                    <a:pt x="1195647" y="1879538"/>
                    <a:pt x="1176839" y="1927595"/>
                    <a:pt x="1144597" y="1964972"/>
                  </a:cubicBezTo>
                  <a:cubicBezTo>
                    <a:pt x="1120416" y="1993005"/>
                    <a:pt x="1085655" y="2013529"/>
                    <a:pt x="1047115" y="2022039"/>
                  </a:cubicBezTo>
                  <a:lnTo>
                    <a:pt x="1044876" y="2022285"/>
                  </a:lnTo>
                  <a:lnTo>
                    <a:pt x="1050557" y="1994340"/>
                  </a:lnTo>
                  <a:cubicBezTo>
                    <a:pt x="1050557" y="1989000"/>
                    <a:pt x="1050557" y="1983660"/>
                    <a:pt x="1050557" y="1978321"/>
                  </a:cubicBezTo>
                  <a:lnTo>
                    <a:pt x="1007578" y="1980833"/>
                  </a:lnTo>
                  <a:lnTo>
                    <a:pt x="1010255" y="1938274"/>
                  </a:lnTo>
                  <a:lnTo>
                    <a:pt x="1007568" y="1938274"/>
                  </a:lnTo>
                  <a:cubicBezTo>
                    <a:pt x="1037123" y="1938274"/>
                    <a:pt x="1058618" y="1924925"/>
                    <a:pt x="1077426" y="1906236"/>
                  </a:cubicBezTo>
                  <a:cubicBezTo>
                    <a:pt x="1096234" y="1884878"/>
                    <a:pt x="1106981" y="1858180"/>
                    <a:pt x="1106981" y="1828812"/>
                  </a:cubicBezTo>
                  <a:cubicBezTo>
                    <a:pt x="1106981" y="1807454"/>
                    <a:pt x="1101608" y="1786095"/>
                    <a:pt x="1088173" y="1767407"/>
                  </a:cubicBezTo>
                  <a:lnTo>
                    <a:pt x="1053244" y="1711341"/>
                  </a:lnTo>
                  <a:lnTo>
                    <a:pt x="1117729" y="1700662"/>
                  </a:lnTo>
                  <a:cubicBezTo>
                    <a:pt x="1147284" y="1695322"/>
                    <a:pt x="1171466" y="1679303"/>
                    <a:pt x="1187587" y="1655275"/>
                  </a:cubicBezTo>
                  <a:cubicBezTo>
                    <a:pt x="1206395" y="1633917"/>
                    <a:pt x="1214455" y="1604549"/>
                    <a:pt x="1214455" y="1572511"/>
                  </a:cubicBezTo>
                  <a:cubicBezTo>
                    <a:pt x="1214455" y="1551153"/>
                    <a:pt x="1211768" y="1532464"/>
                    <a:pt x="1201021" y="1511106"/>
                  </a:cubicBezTo>
                  <a:lnTo>
                    <a:pt x="1182213" y="1473729"/>
                  </a:lnTo>
                  <a:lnTo>
                    <a:pt x="1219829" y="1452371"/>
                  </a:lnTo>
                  <a:cubicBezTo>
                    <a:pt x="1260132" y="1433682"/>
                    <a:pt x="1278940" y="1396305"/>
                    <a:pt x="1278940" y="1358928"/>
                  </a:cubicBezTo>
                  <a:cubicBezTo>
                    <a:pt x="1278940" y="1329560"/>
                    <a:pt x="1270879" y="1305532"/>
                    <a:pt x="1249384" y="1281503"/>
                  </a:cubicBezTo>
                  <a:lnTo>
                    <a:pt x="1214455" y="1246796"/>
                  </a:lnTo>
                  <a:lnTo>
                    <a:pt x="1252071" y="1217428"/>
                  </a:lnTo>
                  <a:cubicBezTo>
                    <a:pt x="1295060" y="1182721"/>
                    <a:pt x="1321929" y="1129325"/>
                    <a:pt x="1321929" y="1065250"/>
                  </a:cubicBezTo>
                  <a:cubicBezTo>
                    <a:pt x="1321929" y="985156"/>
                    <a:pt x="1276253" y="918411"/>
                    <a:pt x="1217142" y="891713"/>
                  </a:cubicBezTo>
                  <a:lnTo>
                    <a:pt x="1174152" y="873024"/>
                  </a:lnTo>
                  <a:lnTo>
                    <a:pt x="1195647" y="830307"/>
                  </a:lnTo>
                  <a:cubicBezTo>
                    <a:pt x="1209081" y="806279"/>
                    <a:pt x="1214455" y="779581"/>
                    <a:pt x="1214455" y="752883"/>
                  </a:cubicBezTo>
                  <a:cubicBezTo>
                    <a:pt x="1214455" y="686138"/>
                    <a:pt x="1174152" y="619393"/>
                    <a:pt x="1101608" y="595365"/>
                  </a:cubicBezTo>
                  <a:lnTo>
                    <a:pt x="1061305" y="579346"/>
                  </a:lnTo>
                  <a:lnTo>
                    <a:pt x="1074739" y="539299"/>
                  </a:lnTo>
                  <a:cubicBezTo>
                    <a:pt x="1082800" y="517941"/>
                    <a:pt x="1085486" y="499252"/>
                    <a:pt x="1085486" y="483234"/>
                  </a:cubicBezTo>
                  <a:cubicBezTo>
                    <a:pt x="1085486" y="416489"/>
                    <a:pt x="1047871" y="360423"/>
                    <a:pt x="991447" y="336395"/>
                  </a:cubicBezTo>
                  <a:lnTo>
                    <a:pt x="961891" y="323046"/>
                  </a:lnTo>
                  <a:lnTo>
                    <a:pt x="964578" y="291008"/>
                  </a:lnTo>
                  <a:cubicBezTo>
                    <a:pt x="964578" y="288338"/>
                    <a:pt x="967265" y="282999"/>
                    <a:pt x="967265" y="280329"/>
                  </a:cubicBezTo>
                  <a:cubicBezTo>
                    <a:pt x="967265" y="237612"/>
                    <a:pt x="948457" y="200235"/>
                    <a:pt x="921589" y="173537"/>
                  </a:cubicBezTo>
                  <a:cubicBezTo>
                    <a:pt x="894720" y="146839"/>
                    <a:pt x="857104" y="130820"/>
                    <a:pt x="819488" y="130820"/>
                  </a:cubicBezTo>
                  <a:cubicBezTo>
                    <a:pt x="806054" y="130820"/>
                    <a:pt x="795307" y="130820"/>
                    <a:pt x="781873" y="133490"/>
                  </a:cubicBezTo>
                  <a:lnTo>
                    <a:pt x="755004" y="141499"/>
                  </a:lnTo>
                  <a:lnTo>
                    <a:pt x="736196" y="122811"/>
                  </a:lnTo>
                  <a:cubicBezTo>
                    <a:pt x="714701" y="98783"/>
                    <a:pt x="687833" y="88103"/>
                    <a:pt x="660965" y="88103"/>
                  </a:cubicBezTo>
                  <a:cubicBezTo>
                    <a:pt x="623349" y="88103"/>
                    <a:pt x="588420" y="106792"/>
                    <a:pt x="564238" y="149509"/>
                  </a:cubicBezTo>
                  <a:lnTo>
                    <a:pt x="548117" y="178877"/>
                  </a:lnTo>
                  <a:lnTo>
                    <a:pt x="515875" y="170867"/>
                  </a:lnTo>
                  <a:cubicBezTo>
                    <a:pt x="502441" y="168197"/>
                    <a:pt x="489007" y="168197"/>
                    <a:pt x="475572" y="168197"/>
                  </a:cubicBezTo>
                  <a:cubicBezTo>
                    <a:pt x="427209" y="168197"/>
                    <a:pt x="384219" y="186886"/>
                    <a:pt x="354664" y="218924"/>
                  </a:cubicBezTo>
                  <a:cubicBezTo>
                    <a:pt x="322422" y="250961"/>
                    <a:pt x="303614" y="293678"/>
                    <a:pt x="303614" y="336395"/>
                  </a:cubicBezTo>
                  <a:cubicBezTo>
                    <a:pt x="303614" y="368432"/>
                    <a:pt x="314361" y="400470"/>
                    <a:pt x="338543" y="432507"/>
                  </a:cubicBezTo>
                  <a:lnTo>
                    <a:pt x="389593" y="499252"/>
                  </a:lnTo>
                  <a:lnTo>
                    <a:pt x="303614" y="504592"/>
                  </a:lnTo>
                  <a:cubicBezTo>
                    <a:pt x="260624" y="504592"/>
                    <a:pt x="212261" y="528620"/>
                    <a:pt x="177332" y="563328"/>
                  </a:cubicBezTo>
                  <a:lnTo>
                    <a:pt x="138694" y="622321"/>
                  </a:lnTo>
                  <a:lnTo>
                    <a:pt x="44525" y="622321"/>
                  </a:lnTo>
                  <a:lnTo>
                    <a:pt x="54409" y="590693"/>
                  </a:lnTo>
                  <a:cubicBezTo>
                    <a:pt x="68515" y="557321"/>
                    <a:pt x="88666" y="527285"/>
                    <a:pt x="112848" y="501922"/>
                  </a:cubicBezTo>
                  <a:cubicBezTo>
                    <a:pt x="138373" y="476559"/>
                    <a:pt x="167256" y="455201"/>
                    <a:pt x="198827" y="439849"/>
                  </a:cubicBezTo>
                  <a:lnTo>
                    <a:pt x="234881" y="426484"/>
                  </a:lnTo>
                  <a:lnTo>
                    <a:pt x="265998" y="485903"/>
                  </a:lnTo>
                  <a:lnTo>
                    <a:pt x="300927" y="459205"/>
                  </a:lnTo>
                  <a:lnTo>
                    <a:pt x="300927" y="413819"/>
                  </a:lnTo>
                  <a:cubicBezTo>
                    <a:pt x="282791" y="414486"/>
                    <a:pt x="265159" y="417156"/>
                    <a:pt x="248114" y="421578"/>
                  </a:cubicBezTo>
                  <a:lnTo>
                    <a:pt x="234881" y="426484"/>
                  </a:lnTo>
                  <a:lnTo>
                    <a:pt x="227375" y="412150"/>
                  </a:lnTo>
                  <a:cubicBezTo>
                    <a:pt x="218979" y="387121"/>
                    <a:pt x="214948" y="361758"/>
                    <a:pt x="214948" y="336395"/>
                  </a:cubicBezTo>
                  <a:cubicBezTo>
                    <a:pt x="214948" y="266980"/>
                    <a:pt x="241817" y="202905"/>
                    <a:pt x="290180" y="157518"/>
                  </a:cubicBezTo>
                  <a:cubicBezTo>
                    <a:pt x="335856" y="109462"/>
                    <a:pt x="400341" y="77424"/>
                    <a:pt x="475572" y="77424"/>
                  </a:cubicBezTo>
                  <a:lnTo>
                    <a:pt x="504748" y="81378"/>
                  </a:lnTo>
                  <a:lnTo>
                    <a:pt x="486320" y="106792"/>
                  </a:lnTo>
                  <a:lnTo>
                    <a:pt x="526622" y="128150"/>
                  </a:lnTo>
                  <a:lnTo>
                    <a:pt x="534683" y="85434"/>
                  </a:lnTo>
                  <a:lnTo>
                    <a:pt x="504748" y="81378"/>
                  </a:lnTo>
                  <a:lnTo>
                    <a:pt x="519653" y="60822"/>
                  </a:lnTo>
                  <a:cubicBezTo>
                    <a:pt x="557689" y="21025"/>
                    <a:pt x="608571" y="0"/>
                    <a:pt x="66096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29" name="Freeform 114">
              <a:extLst>
                <a:ext uri="{FF2B5EF4-FFF2-40B4-BE49-F238E27FC236}">
                  <a16:creationId xmlns:a16="http://schemas.microsoft.com/office/drawing/2014/main" id="{C65AAA01-FDBC-4EA2-90AB-5D4D5D886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8495" y="3733387"/>
              <a:ext cx="497857" cy="331905"/>
            </a:xfrm>
            <a:custGeom>
              <a:avLst/>
              <a:gdLst>
                <a:gd name="T0" fmla="*/ 190 w 190"/>
                <a:gd name="T1" fmla="*/ 48 h 122"/>
                <a:gd name="T2" fmla="*/ 149 w 190"/>
                <a:gd name="T3" fmla="*/ 13 h 122"/>
                <a:gd name="T4" fmla="*/ 96 w 190"/>
                <a:gd name="T5" fmla="*/ 0 h 122"/>
                <a:gd name="T6" fmla="*/ 30 w 190"/>
                <a:gd name="T7" fmla="*/ 23 h 122"/>
                <a:gd name="T8" fmla="*/ 0 w 190"/>
                <a:gd name="T9" fmla="*/ 86 h 122"/>
                <a:gd name="T10" fmla="*/ 7 w 190"/>
                <a:gd name="T11" fmla="*/ 122 h 122"/>
                <a:gd name="T12" fmla="*/ 38 w 190"/>
                <a:gd name="T13" fmla="*/ 110 h 122"/>
                <a:gd name="T14" fmla="*/ 34 w 190"/>
                <a:gd name="T15" fmla="*/ 86 h 122"/>
                <a:gd name="T16" fmla="*/ 52 w 190"/>
                <a:gd name="T17" fmla="*/ 48 h 122"/>
                <a:gd name="T18" fmla="*/ 96 w 190"/>
                <a:gd name="T19" fmla="*/ 33 h 122"/>
                <a:gd name="T20" fmla="*/ 134 w 190"/>
                <a:gd name="T21" fmla="*/ 42 h 122"/>
                <a:gd name="T22" fmla="*/ 163 w 190"/>
                <a:gd name="T23" fmla="*/ 67 h 122"/>
                <a:gd name="T24" fmla="*/ 190 w 190"/>
                <a:gd name="T25" fmla="*/ 48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0" h="122">
                  <a:moveTo>
                    <a:pt x="190" y="48"/>
                  </a:moveTo>
                  <a:cubicBezTo>
                    <a:pt x="180" y="33"/>
                    <a:pt x="165" y="21"/>
                    <a:pt x="149" y="13"/>
                  </a:cubicBezTo>
                  <a:cubicBezTo>
                    <a:pt x="132" y="4"/>
                    <a:pt x="114" y="0"/>
                    <a:pt x="96" y="0"/>
                  </a:cubicBezTo>
                  <a:cubicBezTo>
                    <a:pt x="72" y="0"/>
                    <a:pt x="48" y="8"/>
                    <a:pt x="30" y="23"/>
                  </a:cubicBezTo>
                  <a:cubicBezTo>
                    <a:pt x="12" y="38"/>
                    <a:pt x="0" y="60"/>
                    <a:pt x="0" y="86"/>
                  </a:cubicBezTo>
                  <a:cubicBezTo>
                    <a:pt x="0" y="98"/>
                    <a:pt x="2" y="110"/>
                    <a:pt x="7" y="122"/>
                  </a:cubicBezTo>
                  <a:lnTo>
                    <a:pt x="38" y="110"/>
                  </a:lnTo>
                  <a:cubicBezTo>
                    <a:pt x="35" y="102"/>
                    <a:pt x="34" y="94"/>
                    <a:pt x="34" y="86"/>
                  </a:cubicBezTo>
                  <a:cubicBezTo>
                    <a:pt x="34" y="70"/>
                    <a:pt x="40" y="58"/>
                    <a:pt x="52" y="48"/>
                  </a:cubicBezTo>
                  <a:cubicBezTo>
                    <a:pt x="63" y="39"/>
                    <a:pt x="79" y="33"/>
                    <a:pt x="96" y="33"/>
                  </a:cubicBezTo>
                  <a:cubicBezTo>
                    <a:pt x="109" y="33"/>
                    <a:pt x="121" y="36"/>
                    <a:pt x="134" y="42"/>
                  </a:cubicBezTo>
                  <a:cubicBezTo>
                    <a:pt x="145" y="48"/>
                    <a:pt x="156" y="57"/>
                    <a:pt x="163" y="67"/>
                  </a:cubicBezTo>
                  <a:lnTo>
                    <a:pt x="190" y="48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30" name="Freeform 115">
              <a:extLst>
                <a:ext uri="{FF2B5EF4-FFF2-40B4-BE49-F238E27FC236}">
                  <a16:creationId xmlns:a16="http://schemas.microsoft.com/office/drawing/2014/main" id="{6153DE02-55C6-486F-BC03-3582AD7F29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1054" y="2675434"/>
              <a:ext cx="290417" cy="352655"/>
            </a:xfrm>
            <a:custGeom>
              <a:avLst/>
              <a:gdLst>
                <a:gd name="T0" fmla="*/ 52 w 102"/>
                <a:gd name="T1" fmla="*/ 29 h 128"/>
                <a:gd name="T2" fmla="*/ 64 w 102"/>
                <a:gd name="T3" fmla="*/ 42 h 128"/>
                <a:gd name="T4" fmla="*/ 68 w 102"/>
                <a:gd name="T5" fmla="*/ 64 h 128"/>
                <a:gd name="T6" fmla="*/ 67 w 102"/>
                <a:gd name="T7" fmla="*/ 73 h 128"/>
                <a:gd name="T8" fmla="*/ 67 w 102"/>
                <a:gd name="T9" fmla="*/ 73 h 128"/>
                <a:gd name="T10" fmla="*/ 56 w 102"/>
                <a:gd name="T11" fmla="*/ 89 h 128"/>
                <a:gd name="T12" fmla="*/ 33 w 102"/>
                <a:gd name="T13" fmla="*/ 95 h 128"/>
                <a:gd name="T14" fmla="*/ 13 w 102"/>
                <a:gd name="T15" fmla="*/ 91 h 128"/>
                <a:gd name="T16" fmla="*/ 0 w 102"/>
                <a:gd name="T17" fmla="*/ 121 h 128"/>
                <a:gd name="T18" fmla="*/ 33 w 102"/>
                <a:gd name="T19" fmla="*/ 128 h 128"/>
                <a:gd name="T20" fmla="*/ 74 w 102"/>
                <a:gd name="T21" fmla="*/ 117 h 128"/>
                <a:gd name="T22" fmla="*/ 100 w 102"/>
                <a:gd name="T23" fmla="*/ 79 h 128"/>
                <a:gd name="T24" fmla="*/ 100 w 102"/>
                <a:gd name="T25" fmla="*/ 79 h 128"/>
                <a:gd name="T26" fmla="*/ 102 w 102"/>
                <a:gd name="T27" fmla="*/ 64 h 128"/>
                <a:gd name="T28" fmla="*/ 94 w 102"/>
                <a:gd name="T29" fmla="*/ 28 h 128"/>
                <a:gd name="T30" fmla="*/ 69 w 102"/>
                <a:gd name="T31" fmla="*/ 0 h 128"/>
                <a:gd name="T32" fmla="*/ 52 w 102"/>
                <a:gd name="T33" fmla="*/ 2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28">
                  <a:moveTo>
                    <a:pt x="52" y="29"/>
                  </a:moveTo>
                  <a:cubicBezTo>
                    <a:pt x="56" y="31"/>
                    <a:pt x="61" y="36"/>
                    <a:pt x="64" y="42"/>
                  </a:cubicBezTo>
                  <a:cubicBezTo>
                    <a:pt x="67" y="49"/>
                    <a:pt x="68" y="57"/>
                    <a:pt x="68" y="64"/>
                  </a:cubicBezTo>
                  <a:cubicBezTo>
                    <a:pt x="68" y="67"/>
                    <a:pt x="68" y="70"/>
                    <a:pt x="67" y="73"/>
                  </a:cubicBezTo>
                  <a:lnTo>
                    <a:pt x="67" y="73"/>
                  </a:lnTo>
                  <a:cubicBezTo>
                    <a:pt x="66" y="80"/>
                    <a:pt x="62" y="85"/>
                    <a:pt x="56" y="89"/>
                  </a:cubicBezTo>
                  <a:cubicBezTo>
                    <a:pt x="50" y="93"/>
                    <a:pt x="42" y="95"/>
                    <a:pt x="33" y="95"/>
                  </a:cubicBezTo>
                  <a:cubicBezTo>
                    <a:pt x="26" y="95"/>
                    <a:pt x="19" y="94"/>
                    <a:pt x="13" y="91"/>
                  </a:cubicBezTo>
                  <a:lnTo>
                    <a:pt x="0" y="121"/>
                  </a:lnTo>
                  <a:cubicBezTo>
                    <a:pt x="10" y="126"/>
                    <a:pt x="22" y="128"/>
                    <a:pt x="33" y="128"/>
                  </a:cubicBezTo>
                  <a:cubicBezTo>
                    <a:pt x="48" y="128"/>
                    <a:pt x="62" y="125"/>
                    <a:pt x="74" y="117"/>
                  </a:cubicBezTo>
                  <a:cubicBezTo>
                    <a:pt x="87" y="109"/>
                    <a:pt x="97" y="96"/>
                    <a:pt x="100" y="79"/>
                  </a:cubicBezTo>
                  <a:lnTo>
                    <a:pt x="100" y="79"/>
                  </a:lnTo>
                  <a:cubicBezTo>
                    <a:pt x="101" y="74"/>
                    <a:pt x="102" y="69"/>
                    <a:pt x="102" y="64"/>
                  </a:cubicBezTo>
                  <a:cubicBezTo>
                    <a:pt x="102" y="52"/>
                    <a:pt x="99" y="39"/>
                    <a:pt x="94" y="28"/>
                  </a:cubicBezTo>
                  <a:cubicBezTo>
                    <a:pt x="89" y="17"/>
                    <a:pt x="80" y="6"/>
                    <a:pt x="69" y="0"/>
                  </a:cubicBezTo>
                  <a:lnTo>
                    <a:pt x="52" y="29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31" name="Freeform 116">
              <a:extLst>
                <a:ext uri="{FF2B5EF4-FFF2-40B4-BE49-F238E27FC236}">
                  <a16:creationId xmlns:a16="http://schemas.microsoft.com/office/drawing/2014/main" id="{594F7598-61C4-4CA1-9479-3FD6C4E04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5197" y="3173291"/>
              <a:ext cx="165952" cy="103727"/>
            </a:xfrm>
            <a:custGeom>
              <a:avLst/>
              <a:gdLst>
                <a:gd name="T0" fmla="*/ 29 w 61"/>
                <a:gd name="T1" fmla="*/ 0 h 44"/>
                <a:gd name="T2" fmla="*/ 37 w 61"/>
                <a:gd name="T3" fmla="*/ 3 h 44"/>
                <a:gd name="T4" fmla="*/ 29 w 61"/>
                <a:gd name="T5" fmla="*/ 0 h 44"/>
                <a:gd name="T6" fmla="*/ 29 w 61"/>
                <a:gd name="T7" fmla="*/ 0 h 44"/>
                <a:gd name="T8" fmla="*/ 37 w 61"/>
                <a:gd name="T9" fmla="*/ 3 h 44"/>
                <a:gd name="T10" fmla="*/ 29 w 61"/>
                <a:gd name="T11" fmla="*/ 0 h 44"/>
                <a:gd name="T12" fmla="*/ 25 w 61"/>
                <a:gd name="T13" fmla="*/ 6 h 44"/>
                <a:gd name="T14" fmla="*/ 21 w 61"/>
                <a:gd name="T15" fmla="*/ 9 h 44"/>
                <a:gd name="T16" fmla="*/ 16 w 61"/>
                <a:gd name="T17" fmla="*/ 10 h 44"/>
                <a:gd name="T18" fmla="*/ 9 w 61"/>
                <a:gd name="T19" fmla="*/ 9 h 44"/>
                <a:gd name="T20" fmla="*/ 0 w 61"/>
                <a:gd name="T21" fmla="*/ 41 h 44"/>
                <a:gd name="T22" fmla="*/ 16 w 61"/>
                <a:gd name="T23" fmla="*/ 44 h 44"/>
                <a:gd name="T24" fmla="*/ 37 w 61"/>
                <a:gd name="T25" fmla="*/ 38 h 44"/>
                <a:gd name="T26" fmla="*/ 55 w 61"/>
                <a:gd name="T27" fmla="*/ 22 h 44"/>
                <a:gd name="T28" fmla="*/ 61 w 61"/>
                <a:gd name="T29" fmla="*/ 12 h 44"/>
                <a:gd name="T30" fmla="*/ 29 w 61"/>
                <a:gd name="T31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1" h="44">
                  <a:moveTo>
                    <a:pt x="29" y="0"/>
                  </a:moveTo>
                  <a:lnTo>
                    <a:pt x="37" y="3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7" y="3"/>
                  </a:lnTo>
                  <a:lnTo>
                    <a:pt x="29" y="0"/>
                  </a:lnTo>
                  <a:cubicBezTo>
                    <a:pt x="29" y="0"/>
                    <a:pt x="28" y="4"/>
                    <a:pt x="25" y="6"/>
                  </a:cubicBezTo>
                  <a:lnTo>
                    <a:pt x="21" y="9"/>
                  </a:lnTo>
                  <a:cubicBezTo>
                    <a:pt x="20" y="10"/>
                    <a:pt x="18" y="10"/>
                    <a:pt x="16" y="10"/>
                  </a:cubicBezTo>
                  <a:cubicBezTo>
                    <a:pt x="14" y="10"/>
                    <a:pt x="12" y="10"/>
                    <a:pt x="9" y="9"/>
                  </a:cubicBezTo>
                  <a:lnTo>
                    <a:pt x="0" y="41"/>
                  </a:lnTo>
                  <a:cubicBezTo>
                    <a:pt x="5" y="43"/>
                    <a:pt x="11" y="44"/>
                    <a:pt x="16" y="44"/>
                  </a:cubicBezTo>
                  <a:cubicBezTo>
                    <a:pt x="24" y="44"/>
                    <a:pt x="31" y="42"/>
                    <a:pt x="37" y="38"/>
                  </a:cubicBezTo>
                  <a:cubicBezTo>
                    <a:pt x="46" y="34"/>
                    <a:pt x="52" y="27"/>
                    <a:pt x="55" y="22"/>
                  </a:cubicBezTo>
                  <a:cubicBezTo>
                    <a:pt x="59" y="17"/>
                    <a:pt x="60" y="13"/>
                    <a:pt x="61" y="12"/>
                  </a:cubicBez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32" name="Freeform 117">
              <a:extLst>
                <a:ext uri="{FF2B5EF4-FFF2-40B4-BE49-F238E27FC236}">
                  <a16:creationId xmlns:a16="http://schemas.microsoft.com/office/drawing/2014/main" id="{3FE35E3F-B7FF-4894-A8C5-BDB6EBFDC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8174" y="3442970"/>
              <a:ext cx="165952" cy="124464"/>
            </a:xfrm>
            <a:custGeom>
              <a:avLst/>
              <a:gdLst>
                <a:gd name="T0" fmla="*/ 57 w 57"/>
                <a:gd name="T1" fmla="*/ 0 h 48"/>
                <a:gd name="T2" fmla="*/ 54 w 57"/>
                <a:gd name="T3" fmla="*/ 0 h 48"/>
                <a:gd name="T4" fmla="*/ 32 w 57"/>
                <a:gd name="T5" fmla="*/ 4 h 48"/>
                <a:gd name="T6" fmla="*/ 0 w 57"/>
                <a:gd name="T7" fmla="*/ 25 h 48"/>
                <a:gd name="T8" fmla="*/ 24 w 57"/>
                <a:gd name="T9" fmla="*/ 48 h 48"/>
                <a:gd name="T10" fmla="*/ 43 w 57"/>
                <a:gd name="T11" fmla="*/ 36 h 48"/>
                <a:gd name="T12" fmla="*/ 54 w 57"/>
                <a:gd name="T13" fmla="*/ 34 h 48"/>
                <a:gd name="T14" fmla="*/ 55 w 57"/>
                <a:gd name="T15" fmla="*/ 34 h 48"/>
                <a:gd name="T16" fmla="*/ 55 w 57"/>
                <a:gd name="T17" fmla="*/ 25 h 48"/>
                <a:gd name="T18" fmla="*/ 54 w 57"/>
                <a:gd name="T19" fmla="*/ 34 h 48"/>
                <a:gd name="T20" fmla="*/ 55 w 57"/>
                <a:gd name="T21" fmla="*/ 34 h 48"/>
                <a:gd name="T22" fmla="*/ 55 w 57"/>
                <a:gd name="T23" fmla="*/ 25 h 48"/>
                <a:gd name="T24" fmla="*/ 54 w 57"/>
                <a:gd name="T25" fmla="*/ 34 h 48"/>
                <a:gd name="T26" fmla="*/ 57 w 57"/>
                <a:gd name="T2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48">
                  <a:moveTo>
                    <a:pt x="57" y="0"/>
                  </a:moveTo>
                  <a:lnTo>
                    <a:pt x="54" y="0"/>
                  </a:lnTo>
                  <a:cubicBezTo>
                    <a:pt x="50" y="0"/>
                    <a:pt x="42" y="1"/>
                    <a:pt x="32" y="4"/>
                  </a:cubicBezTo>
                  <a:cubicBezTo>
                    <a:pt x="22" y="7"/>
                    <a:pt x="10" y="14"/>
                    <a:pt x="0" y="25"/>
                  </a:cubicBezTo>
                  <a:lnTo>
                    <a:pt x="24" y="48"/>
                  </a:lnTo>
                  <a:cubicBezTo>
                    <a:pt x="30" y="41"/>
                    <a:pt x="37" y="37"/>
                    <a:pt x="43" y="36"/>
                  </a:cubicBezTo>
                  <a:cubicBezTo>
                    <a:pt x="48" y="34"/>
                    <a:pt x="53" y="34"/>
                    <a:pt x="54" y="34"/>
                  </a:cubicBezTo>
                  <a:lnTo>
                    <a:pt x="55" y="34"/>
                  </a:lnTo>
                  <a:lnTo>
                    <a:pt x="55" y="25"/>
                  </a:lnTo>
                  <a:lnTo>
                    <a:pt x="54" y="34"/>
                  </a:lnTo>
                  <a:lnTo>
                    <a:pt x="55" y="34"/>
                  </a:lnTo>
                  <a:lnTo>
                    <a:pt x="55" y="25"/>
                  </a:lnTo>
                  <a:lnTo>
                    <a:pt x="54" y="34"/>
                  </a:lnTo>
                  <a:lnTo>
                    <a:pt x="57" y="0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33" name="Freeform: Shape 159">
              <a:extLst>
                <a:ext uri="{FF2B5EF4-FFF2-40B4-BE49-F238E27FC236}">
                  <a16:creationId xmlns:a16="http://schemas.microsoft.com/office/drawing/2014/main" id="{D2E2491E-A7B4-4298-B81A-77EBEB65D6B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1865" y="2633946"/>
              <a:ext cx="1410595" cy="2344083"/>
            </a:xfrm>
            <a:custGeom>
              <a:avLst/>
              <a:gdLst>
                <a:gd name="connsiteX0" fmla="*/ 405704 w 1410595"/>
                <a:gd name="connsiteY0" fmla="*/ 1980833 h 2344083"/>
                <a:gd name="connsiteX1" fmla="*/ 405714 w 1410595"/>
                <a:gd name="connsiteY1" fmla="*/ 1980834 h 2344083"/>
                <a:gd name="connsiteX2" fmla="*/ 405714 w 1410595"/>
                <a:gd name="connsiteY2" fmla="*/ 1980991 h 2344083"/>
                <a:gd name="connsiteX3" fmla="*/ 1321080 w 1410595"/>
                <a:gd name="connsiteY3" fmla="*/ 1846226 h 2344083"/>
                <a:gd name="connsiteX4" fmla="*/ 1409824 w 1410595"/>
                <a:gd name="connsiteY4" fmla="*/ 1846226 h 2344083"/>
                <a:gd name="connsiteX5" fmla="*/ 1410595 w 1410595"/>
                <a:gd name="connsiteY5" fmla="*/ 1871529 h 2344083"/>
                <a:gd name="connsiteX6" fmla="*/ 1321929 w 1410595"/>
                <a:gd name="connsiteY6" fmla="*/ 2183895 h 2344083"/>
                <a:gd name="connsiteX7" fmla="*/ 1066679 w 1410595"/>
                <a:gd name="connsiteY7" fmla="*/ 2304036 h 2344083"/>
                <a:gd name="connsiteX8" fmla="*/ 998743 w 1410595"/>
                <a:gd name="connsiteY8" fmla="*/ 2295854 h 2344083"/>
                <a:gd name="connsiteX9" fmla="*/ 1021002 w 1410595"/>
                <a:gd name="connsiteY9" fmla="*/ 2280008 h 2344083"/>
                <a:gd name="connsiteX10" fmla="*/ 988760 w 1410595"/>
                <a:gd name="connsiteY10" fmla="*/ 2250640 h 2344083"/>
                <a:gd name="connsiteX11" fmla="*/ 978013 w 1410595"/>
                <a:gd name="connsiteY11" fmla="*/ 2293357 h 2344083"/>
                <a:gd name="connsiteX12" fmla="*/ 988760 w 1410595"/>
                <a:gd name="connsiteY12" fmla="*/ 2294652 h 2344083"/>
                <a:gd name="connsiteX13" fmla="*/ 998743 w 1410595"/>
                <a:gd name="connsiteY13" fmla="*/ 2295854 h 2344083"/>
                <a:gd name="connsiteX14" fmla="*/ 953495 w 1410595"/>
                <a:gd name="connsiteY14" fmla="*/ 2328064 h 2344083"/>
                <a:gd name="connsiteX15" fmla="*/ 875913 w 1410595"/>
                <a:gd name="connsiteY15" fmla="*/ 2344083 h 2344083"/>
                <a:gd name="connsiteX16" fmla="*/ 744803 w 1410595"/>
                <a:gd name="connsiteY16" fmla="*/ 2292273 h 2344083"/>
                <a:gd name="connsiteX17" fmla="*/ 739855 w 1410595"/>
                <a:gd name="connsiteY17" fmla="*/ 2286393 h 2344083"/>
                <a:gd name="connsiteX18" fmla="*/ 779186 w 1410595"/>
                <a:gd name="connsiteY18" fmla="*/ 2263989 h 2344083"/>
                <a:gd name="connsiteX19" fmla="*/ 749631 w 1410595"/>
                <a:gd name="connsiteY19" fmla="*/ 2229282 h 2344083"/>
                <a:gd name="connsiteX20" fmla="*/ 712015 w 1410595"/>
                <a:gd name="connsiteY20" fmla="*/ 2253310 h 2344083"/>
                <a:gd name="connsiteX21" fmla="*/ 739855 w 1410595"/>
                <a:gd name="connsiteY21" fmla="*/ 2286393 h 2344083"/>
                <a:gd name="connsiteX22" fmla="*/ 726457 w 1410595"/>
                <a:gd name="connsiteY22" fmla="*/ 2294024 h 2344083"/>
                <a:gd name="connsiteX23" fmla="*/ 671712 w 1410595"/>
                <a:gd name="connsiteY23" fmla="*/ 2304036 h 2344083"/>
                <a:gd name="connsiteX24" fmla="*/ 558865 w 1410595"/>
                <a:gd name="connsiteY24" fmla="*/ 2258650 h 2344083"/>
                <a:gd name="connsiteX25" fmla="*/ 511635 w 1410595"/>
                <a:gd name="connsiteY25" fmla="*/ 2179432 h 2344083"/>
                <a:gd name="connsiteX26" fmla="*/ 509043 w 1410595"/>
                <a:gd name="connsiteY26" fmla="*/ 2157103 h 2344083"/>
                <a:gd name="connsiteX27" fmla="*/ 537370 w 1410595"/>
                <a:gd name="connsiteY27" fmla="*/ 2162537 h 2344083"/>
                <a:gd name="connsiteX28" fmla="*/ 561551 w 1410595"/>
                <a:gd name="connsiteY28" fmla="*/ 2159867 h 2344083"/>
                <a:gd name="connsiteX29" fmla="*/ 556178 w 1410595"/>
                <a:gd name="connsiteY29" fmla="*/ 2117150 h 2344083"/>
                <a:gd name="connsiteX30" fmla="*/ 513188 w 1410595"/>
                <a:gd name="connsiteY30" fmla="*/ 2106471 h 2344083"/>
                <a:gd name="connsiteX31" fmla="*/ 507814 w 1410595"/>
                <a:gd name="connsiteY31" fmla="*/ 2146518 h 2344083"/>
                <a:gd name="connsiteX32" fmla="*/ 509043 w 1410595"/>
                <a:gd name="connsiteY32" fmla="*/ 2157103 h 2344083"/>
                <a:gd name="connsiteX33" fmla="*/ 469527 w 1410595"/>
                <a:gd name="connsiteY33" fmla="*/ 2149522 h 2344083"/>
                <a:gd name="connsiteX34" fmla="*/ 413775 w 1410595"/>
                <a:gd name="connsiteY34" fmla="*/ 2114480 h 2344083"/>
                <a:gd name="connsiteX35" fmla="*/ 376159 w 1410595"/>
                <a:gd name="connsiteY35" fmla="*/ 2060417 h 2344083"/>
                <a:gd name="connsiteX36" fmla="*/ 368430 w 1410595"/>
                <a:gd name="connsiteY36" fmla="*/ 2022401 h 2344083"/>
                <a:gd name="connsiteX37" fmla="*/ 405714 w 1410595"/>
                <a:gd name="connsiteY37" fmla="*/ 2026377 h 2344083"/>
                <a:gd name="connsiteX38" fmla="*/ 408401 w 1410595"/>
                <a:gd name="connsiteY38" fmla="*/ 2026377 h 2344083"/>
                <a:gd name="connsiteX39" fmla="*/ 411088 w 1410595"/>
                <a:gd name="connsiteY39" fmla="*/ 2026377 h 2344083"/>
                <a:gd name="connsiteX40" fmla="*/ 408401 w 1410595"/>
                <a:gd name="connsiteY40" fmla="*/ 1980991 h 2344083"/>
                <a:gd name="connsiteX41" fmla="*/ 405714 w 1410595"/>
                <a:gd name="connsiteY41" fmla="*/ 1980834 h 2344083"/>
                <a:gd name="connsiteX42" fmla="*/ 405714 w 1410595"/>
                <a:gd name="connsiteY42" fmla="*/ 1938274 h 2344083"/>
                <a:gd name="connsiteX43" fmla="*/ 404892 w 1410595"/>
                <a:gd name="connsiteY43" fmla="*/ 1938088 h 2344083"/>
                <a:gd name="connsiteX44" fmla="*/ 456764 w 1410595"/>
                <a:gd name="connsiteY44" fmla="*/ 1932934 h 2344083"/>
                <a:gd name="connsiteX45" fmla="*/ 451391 w 1410595"/>
                <a:gd name="connsiteY45" fmla="*/ 1986330 h 2344083"/>
                <a:gd name="connsiteX46" fmla="*/ 451391 w 1410595"/>
                <a:gd name="connsiteY46" fmla="*/ 1994340 h 2344083"/>
                <a:gd name="connsiteX47" fmla="*/ 475572 w 1410595"/>
                <a:gd name="connsiteY47" fmla="*/ 2047736 h 2344083"/>
                <a:gd name="connsiteX48" fmla="*/ 537370 w 1410595"/>
                <a:gd name="connsiteY48" fmla="*/ 2074434 h 2344083"/>
                <a:gd name="connsiteX49" fmla="*/ 550804 w 1410595"/>
                <a:gd name="connsiteY49" fmla="*/ 2071764 h 2344083"/>
                <a:gd name="connsiteX50" fmla="*/ 615288 w 1410595"/>
                <a:gd name="connsiteY50" fmla="*/ 2063754 h 2344083"/>
                <a:gd name="connsiteX51" fmla="*/ 599167 w 1410595"/>
                <a:gd name="connsiteY51" fmla="*/ 2127829 h 2344083"/>
                <a:gd name="connsiteX52" fmla="*/ 596480 w 1410595"/>
                <a:gd name="connsiteY52" fmla="*/ 2146518 h 2344083"/>
                <a:gd name="connsiteX53" fmla="*/ 617975 w 1410595"/>
                <a:gd name="connsiteY53" fmla="*/ 2194574 h 2344083"/>
                <a:gd name="connsiteX54" fmla="*/ 671712 w 1410595"/>
                <a:gd name="connsiteY54" fmla="*/ 2213263 h 2344083"/>
                <a:gd name="connsiteX55" fmla="*/ 720075 w 1410595"/>
                <a:gd name="connsiteY55" fmla="*/ 2197244 h 2344083"/>
                <a:gd name="connsiteX56" fmla="*/ 757691 w 1410595"/>
                <a:gd name="connsiteY56" fmla="*/ 2162537 h 2344083"/>
                <a:gd name="connsiteX57" fmla="*/ 784560 w 1410595"/>
                <a:gd name="connsiteY57" fmla="*/ 2205254 h 2344083"/>
                <a:gd name="connsiteX58" fmla="*/ 875913 w 1410595"/>
                <a:gd name="connsiteY58" fmla="*/ 2255980 h 2344083"/>
                <a:gd name="connsiteX59" fmla="*/ 953831 w 1410595"/>
                <a:gd name="connsiteY59" fmla="*/ 2221272 h 2344083"/>
                <a:gd name="connsiteX60" fmla="*/ 967265 w 1410595"/>
                <a:gd name="connsiteY60" fmla="*/ 2205254 h 2344083"/>
                <a:gd name="connsiteX61" fmla="*/ 988760 w 1410595"/>
                <a:gd name="connsiteY61" fmla="*/ 2205254 h 2344083"/>
                <a:gd name="connsiteX62" fmla="*/ 991447 w 1410595"/>
                <a:gd name="connsiteY62" fmla="*/ 2205254 h 2344083"/>
                <a:gd name="connsiteX63" fmla="*/ 996821 w 1410595"/>
                <a:gd name="connsiteY63" fmla="*/ 2207923 h 2344083"/>
                <a:gd name="connsiteX64" fmla="*/ 1066679 w 1410595"/>
                <a:gd name="connsiteY64" fmla="*/ 2213263 h 2344083"/>
                <a:gd name="connsiteX65" fmla="*/ 1252071 w 1410595"/>
                <a:gd name="connsiteY65" fmla="*/ 2127829 h 2344083"/>
                <a:gd name="connsiteX66" fmla="*/ 1321929 w 1410595"/>
                <a:gd name="connsiteY66" fmla="*/ 1871529 h 2344083"/>
                <a:gd name="connsiteX67" fmla="*/ 752318 w 1410595"/>
                <a:gd name="connsiteY67" fmla="*/ 0 h 2344083"/>
                <a:gd name="connsiteX68" fmla="*/ 893629 w 1410595"/>
                <a:gd name="connsiteY68" fmla="*/ 60822 h 2344083"/>
                <a:gd name="connsiteX69" fmla="*/ 908534 w 1410595"/>
                <a:gd name="connsiteY69" fmla="*/ 81378 h 2344083"/>
                <a:gd name="connsiteX70" fmla="*/ 878599 w 1410595"/>
                <a:gd name="connsiteY70" fmla="*/ 85434 h 2344083"/>
                <a:gd name="connsiteX71" fmla="*/ 886660 w 1410595"/>
                <a:gd name="connsiteY71" fmla="*/ 128150 h 2344083"/>
                <a:gd name="connsiteX72" fmla="*/ 926963 w 1410595"/>
                <a:gd name="connsiteY72" fmla="*/ 106792 h 2344083"/>
                <a:gd name="connsiteX73" fmla="*/ 908534 w 1410595"/>
                <a:gd name="connsiteY73" fmla="*/ 81378 h 2344083"/>
                <a:gd name="connsiteX74" fmla="*/ 937710 w 1410595"/>
                <a:gd name="connsiteY74" fmla="*/ 77424 h 2344083"/>
                <a:gd name="connsiteX75" fmla="*/ 1123102 w 1410595"/>
                <a:gd name="connsiteY75" fmla="*/ 157518 h 2344083"/>
                <a:gd name="connsiteX76" fmla="*/ 1198334 w 1410595"/>
                <a:gd name="connsiteY76" fmla="*/ 336395 h 2344083"/>
                <a:gd name="connsiteX77" fmla="*/ 1185908 w 1410595"/>
                <a:gd name="connsiteY77" fmla="*/ 412150 h 2344083"/>
                <a:gd name="connsiteX78" fmla="*/ 1178382 w 1410595"/>
                <a:gd name="connsiteY78" fmla="*/ 426521 h 2344083"/>
                <a:gd name="connsiteX79" fmla="*/ 1165127 w 1410595"/>
                <a:gd name="connsiteY79" fmla="*/ 421578 h 2344083"/>
                <a:gd name="connsiteX80" fmla="*/ 1112355 w 1410595"/>
                <a:gd name="connsiteY80" fmla="*/ 413819 h 2344083"/>
                <a:gd name="connsiteX81" fmla="*/ 1109668 w 1410595"/>
                <a:gd name="connsiteY81" fmla="*/ 459205 h 2344083"/>
                <a:gd name="connsiteX82" fmla="*/ 1147284 w 1410595"/>
                <a:gd name="connsiteY82" fmla="*/ 485903 h 2344083"/>
                <a:gd name="connsiteX83" fmla="*/ 1178382 w 1410595"/>
                <a:gd name="connsiteY83" fmla="*/ 426521 h 2344083"/>
                <a:gd name="connsiteX84" fmla="*/ 1214120 w 1410595"/>
                <a:gd name="connsiteY84" fmla="*/ 439849 h 2344083"/>
                <a:gd name="connsiteX85" fmla="*/ 1297748 w 1410595"/>
                <a:gd name="connsiteY85" fmla="*/ 501922 h 2344083"/>
                <a:gd name="connsiteX86" fmla="*/ 1358538 w 1410595"/>
                <a:gd name="connsiteY86" fmla="*/ 590693 h 2344083"/>
                <a:gd name="connsiteX87" fmla="*/ 1368598 w 1410595"/>
                <a:gd name="connsiteY87" fmla="*/ 622321 h 2344083"/>
                <a:gd name="connsiteX88" fmla="*/ 1274100 w 1410595"/>
                <a:gd name="connsiteY88" fmla="*/ 622321 h 2344083"/>
                <a:gd name="connsiteX89" fmla="*/ 1233263 w 1410595"/>
                <a:gd name="connsiteY89" fmla="*/ 563328 h 2344083"/>
                <a:gd name="connsiteX90" fmla="*/ 1109668 w 1410595"/>
                <a:gd name="connsiteY90" fmla="*/ 504592 h 2344083"/>
                <a:gd name="connsiteX91" fmla="*/ 1023689 w 1410595"/>
                <a:gd name="connsiteY91" fmla="*/ 499252 h 2344083"/>
                <a:gd name="connsiteX92" fmla="*/ 1074739 w 1410595"/>
                <a:gd name="connsiteY92" fmla="*/ 432507 h 2344083"/>
                <a:gd name="connsiteX93" fmla="*/ 1109668 w 1410595"/>
                <a:gd name="connsiteY93" fmla="*/ 336395 h 2344083"/>
                <a:gd name="connsiteX94" fmla="*/ 1058618 w 1410595"/>
                <a:gd name="connsiteY94" fmla="*/ 218924 h 2344083"/>
                <a:gd name="connsiteX95" fmla="*/ 937710 w 1410595"/>
                <a:gd name="connsiteY95" fmla="*/ 165528 h 2344083"/>
                <a:gd name="connsiteX96" fmla="*/ 897407 w 1410595"/>
                <a:gd name="connsiteY96" fmla="*/ 170867 h 2344083"/>
                <a:gd name="connsiteX97" fmla="*/ 865165 w 1410595"/>
                <a:gd name="connsiteY97" fmla="*/ 178877 h 2344083"/>
                <a:gd name="connsiteX98" fmla="*/ 849044 w 1410595"/>
                <a:gd name="connsiteY98" fmla="*/ 149509 h 2344083"/>
                <a:gd name="connsiteX99" fmla="*/ 752318 w 1410595"/>
                <a:gd name="connsiteY99" fmla="*/ 88103 h 2344083"/>
                <a:gd name="connsiteX100" fmla="*/ 674399 w 1410595"/>
                <a:gd name="connsiteY100" fmla="*/ 122811 h 2344083"/>
                <a:gd name="connsiteX101" fmla="*/ 658278 w 1410595"/>
                <a:gd name="connsiteY101" fmla="*/ 141499 h 2344083"/>
                <a:gd name="connsiteX102" fmla="*/ 631409 w 1410595"/>
                <a:gd name="connsiteY102" fmla="*/ 133490 h 2344083"/>
                <a:gd name="connsiteX103" fmla="*/ 593794 w 1410595"/>
                <a:gd name="connsiteY103" fmla="*/ 130820 h 2344083"/>
                <a:gd name="connsiteX104" fmla="*/ 491693 w 1410595"/>
                <a:gd name="connsiteY104" fmla="*/ 173537 h 2344083"/>
                <a:gd name="connsiteX105" fmla="*/ 446017 w 1410595"/>
                <a:gd name="connsiteY105" fmla="*/ 280329 h 2344083"/>
                <a:gd name="connsiteX106" fmla="*/ 446017 w 1410595"/>
                <a:gd name="connsiteY106" fmla="*/ 291008 h 2344083"/>
                <a:gd name="connsiteX107" fmla="*/ 451391 w 1410595"/>
                <a:gd name="connsiteY107" fmla="*/ 323046 h 2344083"/>
                <a:gd name="connsiteX108" fmla="*/ 421835 w 1410595"/>
                <a:gd name="connsiteY108" fmla="*/ 336395 h 2344083"/>
                <a:gd name="connsiteX109" fmla="*/ 327796 w 1410595"/>
                <a:gd name="connsiteY109" fmla="*/ 483234 h 2344083"/>
                <a:gd name="connsiteX110" fmla="*/ 338543 w 1410595"/>
                <a:gd name="connsiteY110" fmla="*/ 539299 h 2344083"/>
                <a:gd name="connsiteX111" fmla="*/ 351977 w 1410595"/>
                <a:gd name="connsiteY111" fmla="*/ 579346 h 2344083"/>
                <a:gd name="connsiteX112" fmla="*/ 311675 w 1410595"/>
                <a:gd name="connsiteY112" fmla="*/ 595365 h 2344083"/>
                <a:gd name="connsiteX113" fmla="*/ 198827 w 1410595"/>
                <a:gd name="connsiteY113" fmla="*/ 752883 h 2344083"/>
                <a:gd name="connsiteX114" fmla="*/ 217635 w 1410595"/>
                <a:gd name="connsiteY114" fmla="*/ 830307 h 2344083"/>
                <a:gd name="connsiteX115" fmla="*/ 239130 w 1410595"/>
                <a:gd name="connsiteY115" fmla="*/ 873024 h 2344083"/>
                <a:gd name="connsiteX116" fmla="*/ 196140 w 1410595"/>
                <a:gd name="connsiteY116" fmla="*/ 891713 h 2344083"/>
                <a:gd name="connsiteX117" fmla="*/ 91353 w 1410595"/>
                <a:gd name="connsiteY117" fmla="*/ 1065250 h 2344083"/>
                <a:gd name="connsiteX118" fmla="*/ 161211 w 1410595"/>
                <a:gd name="connsiteY118" fmla="*/ 1217428 h 2344083"/>
                <a:gd name="connsiteX119" fmla="*/ 198827 w 1410595"/>
                <a:gd name="connsiteY119" fmla="*/ 1246796 h 2344083"/>
                <a:gd name="connsiteX120" fmla="*/ 163898 w 1410595"/>
                <a:gd name="connsiteY120" fmla="*/ 1281503 h 2344083"/>
                <a:gd name="connsiteX121" fmla="*/ 131656 w 1410595"/>
                <a:gd name="connsiteY121" fmla="*/ 1358928 h 2344083"/>
                <a:gd name="connsiteX122" fmla="*/ 190766 w 1410595"/>
                <a:gd name="connsiteY122" fmla="*/ 1452371 h 2344083"/>
                <a:gd name="connsiteX123" fmla="*/ 231069 w 1410595"/>
                <a:gd name="connsiteY123" fmla="*/ 1473729 h 2344083"/>
                <a:gd name="connsiteX124" fmla="*/ 212261 w 1410595"/>
                <a:gd name="connsiteY124" fmla="*/ 1511106 h 2344083"/>
                <a:gd name="connsiteX125" fmla="*/ 198827 w 1410595"/>
                <a:gd name="connsiteY125" fmla="*/ 1572511 h 2344083"/>
                <a:gd name="connsiteX126" fmla="*/ 225695 w 1410595"/>
                <a:gd name="connsiteY126" fmla="*/ 1655275 h 2344083"/>
                <a:gd name="connsiteX127" fmla="*/ 295553 w 1410595"/>
                <a:gd name="connsiteY127" fmla="*/ 1700662 h 2344083"/>
                <a:gd name="connsiteX128" fmla="*/ 360038 w 1410595"/>
                <a:gd name="connsiteY128" fmla="*/ 1711341 h 2344083"/>
                <a:gd name="connsiteX129" fmla="*/ 322422 w 1410595"/>
                <a:gd name="connsiteY129" fmla="*/ 1767407 h 2344083"/>
                <a:gd name="connsiteX130" fmla="*/ 306301 w 1410595"/>
                <a:gd name="connsiteY130" fmla="*/ 1828812 h 2344083"/>
                <a:gd name="connsiteX131" fmla="*/ 335856 w 1410595"/>
                <a:gd name="connsiteY131" fmla="*/ 1906236 h 2344083"/>
                <a:gd name="connsiteX132" fmla="*/ 365747 w 1410595"/>
                <a:gd name="connsiteY132" fmla="*/ 1929263 h 2344083"/>
                <a:gd name="connsiteX133" fmla="*/ 404892 w 1410595"/>
                <a:gd name="connsiteY133" fmla="*/ 1938088 h 2344083"/>
                <a:gd name="connsiteX134" fmla="*/ 403027 w 1410595"/>
                <a:gd name="connsiteY134" fmla="*/ 1938274 h 2344083"/>
                <a:gd name="connsiteX135" fmla="*/ 405704 w 1410595"/>
                <a:gd name="connsiteY135" fmla="*/ 1980833 h 2344083"/>
                <a:gd name="connsiteX136" fmla="*/ 362725 w 1410595"/>
                <a:gd name="connsiteY136" fmla="*/ 1978321 h 2344083"/>
                <a:gd name="connsiteX137" fmla="*/ 362725 w 1410595"/>
                <a:gd name="connsiteY137" fmla="*/ 1994340 h 2344083"/>
                <a:gd name="connsiteX138" fmla="*/ 368430 w 1410595"/>
                <a:gd name="connsiteY138" fmla="*/ 2022401 h 2344083"/>
                <a:gd name="connsiteX139" fmla="*/ 365034 w 1410595"/>
                <a:gd name="connsiteY139" fmla="*/ 2022039 h 2344083"/>
                <a:gd name="connsiteX140" fmla="*/ 268685 w 1410595"/>
                <a:gd name="connsiteY140" fmla="*/ 1964972 h 2344083"/>
                <a:gd name="connsiteX141" fmla="*/ 214948 w 1410595"/>
                <a:gd name="connsiteY141" fmla="*/ 1828812 h 2344083"/>
                <a:gd name="connsiteX142" fmla="*/ 223009 w 1410595"/>
                <a:gd name="connsiteY142" fmla="*/ 1773080 h 2344083"/>
                <a:gd name="connsiteX143" fmla="*/ 225897 w 1410595"/>
                <a:gd name="connsiteY143" fmla="*/ 1766662 h 2344083"/>
                <a:gd name="connsiteX144" fmla="*/ 276746 w 1410595"/>
                <a:gd name="connsiteY144" fmla="*/ 1786095 h 2344083"/>
                <a:gd name="connsiteX145" fmla="*/ 284806 w 1410595"/>
                <a:gd name="connsiteY145" fmla="*/ 1743379 h 2344083"/>
                <a:gd name="connsiteX146" fmla="*/ 247190 w 1410595"/>
                <a:gd name="connsiteY146" fmla="*/ 1719350 h 2344083"/>
                <a:gd name="connsiteX147" fmla="*/ 225897 w 1410595"/>
                <a:gd name="connsiteY147" fmla="*/ 1766662 h 2344083"/>
                <a:gd name="connsiteX148" fmla="*/ 206887 w 1410595"/>
                <a:gd name="connsiteY148" fmla="*/ 1759398 h 2344083"/>
                <a:gd name="connsiteX149" fmla="*/ 153151 w 1410595"/>
                <a:gd name="connsiteY149" fmla="*/ 1708671 h 2344083"/>
                <a:gd name="connsiteX150" fmla="*/ 107474 w 1410595"/>
                <a:gd name="connsiteY150" fmla="*/ 1572511 h 2344083"/>
                <a:gd name="connsiteX151" fmla="*/ 113520 w 1410595"/>
                <a:gd name="connsiteY151" fmla="*/ 1523120 h 2344083"/>
                <a:gd name="connsiteX152" fmla="*/ 118568 w 1410595"/>
                <a:gd name="connsiteY152" fmla="*/ 1509370 h 2344083"/>
                <a:gd name="connsiteX153" fmla="*/ 150464 w 1410595"/>
                <a:gd name="connsiteY153" fmla="*/ 1532464 h 2344083"/>
                <a:gd name="connsiteX154" fmla="*/ 171958 w 1410595"/>
                <a:gd name="connsiteY154" fmla="*/ 1492417 h 2344083"/>
                <a:gd name="connsiteX155" fmla="*/ 131656 w 1410595"/>
                <a:gd name="connsiteY155" fmla="*/ 1473729 h 2344083"/>
                <a:gd name="connsiteX156" fmla="*/ 118568 w 1410595"/>
                <a:gd name="connsiteY156" fmla="*/ 1509370 h 2344083"/>
                <a:gd name="connsiteX157" fmla="*/ 104200 w 1410595"/>
                <a:gd name="connsiteY157" fmla="*/ 1498967 h 2344083"/>
                <a:gd name="connsiteX158" fmla="*/ 42990 w 1410595"/>
                <a:gd name="connsiteY158" fmla="*/ 1358928 h 2344083"/>
                <a:gd name="connsiteX159" fmla="*/ 57096 w 1410595"/>
                <a:gd name="connsiteY159" fmla="*/ 1284507 h 2344083"/>
                <a:gd name="connsiteX160" fmla="*/ 74728 w 1410595"/>
                <a:gd name="connsiteY160" fmla="*/ 1257670 h 2344083"/>
                <a:gd name="connsiteX161" fmla="*/ 102100 w 1410595"/>
                <a:gd name="connsiteY161" fmla="*/ 1286843 h 2344083"/>
                <a:gd name="connsiteX162" fmla="*/ 131656 w 1410595"/>
                <a:gd name="connsiteY162" fmla="*/ 1252136 h 2344083"/>
                <a:gd name="connsiteX163" fmla="*/ 99414 w 1410595"/>
                <a:gd name="connsiteY163" fmla="*/ 1220098 h 2344083"/>
                <a:gd name="connsiteX164" fmla="*/ 74728 w 1410595"/>
                <a:gd name="connsiteY164" fmla="*/ 1257670 h 2344083"/>
                <a:gd name="connsiteX165" fmla="*/ 60454 w 1410595"/>
                <a:gd name="connsiteY165" fmla="*/ 1242458 h 2344083"/>
                <a:gd name="connsiteX166" fmla="*/ 0 w 1410595"/>
                <a:gd name="connsiteY166" fmla="*/ 1065250 h 2344083"/>
                <a:gd name="connsiteX167" fmla="*/ 94460 w 1410595"/>
                <a:gd name="connsiteY167" fmla="*/ 853501 h 2344083"/>
                <a:gd name="connsiteX168" fmla="*/ 123124 w 1410595"/>
                <a:gd name="connsiteY168" fmla="*/ 834762 h 2344083"/>
                <a:gd name="connsiteX169" fmla="*/ 137029 w 1410595"/>
                <a:gd name="connsiteY169" fmla="*/ 873024 h 2344083"/>
                <a:gd name="connsiteX170" fmla="*/ 177332 w 1410595"/>
                <a:gd name="connsiteY170" fmla="*/ 851666 h 2344083"/>
                <a:gd name="connsiteX171" fmla="*/ 158524 w 1410595"/>
                <a:gd name="connsiteY171" fmla="*/ 811619 h 2344083"/>
                <a:gd name="connsiteX172" fmla="*/ 123124 w 1410595"/>
                <a:gd name="connsiteY172" fmla="*/ 834762 h 2344083"/>
                <a:gd name="connsiteX173" fmla="*/ 115199 w 1410595"/>
                <a:gd name="connsiteY173" fmla="*/ 812954 h 2344083"/>
                <a:gd name="connsiteX174" fmla="*/ 107474 w 1410595"/>
                <a:gd name="connsiteY174" fmla="*/ 752883 h 2344083"/>
                <a:gd name="connsiteX175" fmla="*/ 207223 w 1410595"/>
                <a:gd name="connsiteY175" fmla="*/ 550146 h 2344083"/>
                <a:gd name="connsiteX176" fmla="*/ 243238 w 1410595"/>
                <a:gd name="connsiteY176" fmla="*/ 530089 h 2344083"/>
                <a:gd name="connsiteX177" fmla="*/ 252564 w 1410595"/>
                <a:gd name="connsiteY177" fmla="*/ 565997 h 2344083"/>
                <a:gd name="connsiteX178" fmla="*/ 295553 w 1410595"/>
                <a:gd name="connsiteY178" fmla="*/ 552648 h 2344083"/>
                <a:gd name="connsiteX179" fmla="*/ 279432 w 1410595"/>
                <a:gd name="connsiteY179" fmla="*/ 509932 h 2344083"/>
                <a:gd name="connsiteX180" fmla="*/ 243238 w 1410595"/>
                <a:gd name="connsiteY180" fmla="*/ 530089 h 2344083"/>
                <a:gd name="connsiteX181" fmla="*/ 241817 w 1410595"/>
                <a:gd name="connsiteY181" fmla="*/ 524616 h 2344083"/>
                <a:gd name="connsiteX182" fmla="*/ 239130 w 1410595"/>
                <a:gd name="connsiteY182" fmla="*/ 483234 h 2344083"/>
                <a:gd name="connsiteX183" fmla="*/ 324143 w 1410595"/>
                <a:gd name="connsiteY183" fmla="*/ 292510 h 2344083"/>
                <a:gd name="connsiteX184" fmla="*/ 358347 w 1410595"/>
                <a:gd name="connsiteY184" fmla="*/ 270374 h 2344083"/>
                <a:gd name="connsiteX185" fmla="*/ 357351 w 1410595"/>
                <a:gd name="connsiteY185" fmla="*/ 280329 h 2344083"/>
                <a:gd name="connsiteX186" fmla="*/ 357351 w 1410595"/>
                <a:gd name="connsiteY186" fmla="*/ 299018 h 2344083"/>
                <a:gd name="connsiteX187" fmla="*/ 403027 w 1410595"/>
                <a:gd name="connsiteY187" fmla="*/ 293678 h 2344083"/>
                <a:gd name="connsiteX188" fmla="*/ 384219 w 1410595"/>
                <a:gd name="connsiteY188" fmla="*/ 253631 h 2344083"/>
                <a:gd name="connsiteX189" fmla="*/ 358347 w 1410595"/>
                <a:gd name="connsiteY189" fmla="*/ 270374 h 2344083"/>
                <a:gd name="connsiteX190" fmla="*/ 362221 w 1410595"/>
                <a:gd name="connsiteY190" fmla="*/ 231678 h 2344083"/>
                <a:gd name="connsiteX191" fmla="*/ 593794 w 1410595"/>
                <a:gd name="connsiteY191" fmla="*/ 40047 h 2344083"/>
                <a:gd name="connsiteX192" fmla="*/ 633696 w 1410595"/>
                <a:gd name="connsiteY192" fmla="*/ 45219 h 2344083"/>
                <a:gd name="connsiteX193" fmla="*/ 609915 w 1410595"/>
                <a:gd name="connsiteY193" fmla="*/ 61405 h 2344083"/>
                <a:gd name="connsiteX194" fmla="*/ 642157 w 1410595"/>
                <a:gd name="connsiteY194" fmla="*/ 90773 h 2344083"/>
                <a:gd name="connsiteX195" fmla="*/ 655591 w 1410595"/>
                <a:gd name="connsiteY195" fmla="*/ 48056 h 2344083"/>
                <a:gd name="connsiteX196" fmla="*/ 633696 w 1410595"/>
                <a:gd name="connsiteY196" fmla="*/ 45219 h 2344083"/>
                <a:gd name="connsiteX197" fmla="*/ 677086 w 1410595"/>
                <a:gd name="connsiteY197" fmla="*/ 15685 h 2344083"/>
                <a:gd name="connsiteX198" fmla="*/ 752318 w 1410595"/>
                <a:gd name="connsiteY198" fmla="*/ 0 h 2344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1410595" h="2344083">
                  <a:moveTo>
                    <a:pt x="405704" y="1980833"/>
                  </a:moveTo>
                  <a:lnTo>
                    <a:pt x="405714" y="1980834"/>
                  </a:lnTo>
                  <a:lnTo>
                    <a:pt x="405714" y="1980991"/>
                  </a:lnTo>
                  <a:close/>
                  <a:moveTo>
                    <a:pt x="1321080" y="1846226"/>
                  </a:moveTo>
                  <a:lnTo>
                    <a:pt x="1409824" y="1846226"/>
                  </a:lnTo>
                  <a:lnTo>
                    <a:pt x="1410595" y="1871529"/>
                  </a:lnTo>
                  <a:cubicBezTo>
                    <a:pt x="1410595" y="1999679"/>
                    <a:pt x="1381040" y="2106471"/>
                    <a:pt x="1321929" y="2183895"/>
                  </a:cubicBezTo>
                  <a:cubicBezTo>
                    <a:pt x="1262819" y="2261319"/>
                    <a:pt x="1171466" y="2304036"/>
                    <a:pt x="1066679" y="2304036"/>
                  </a:cubicBezTo>
                  <a:lnTo>
                    <a:pt x="998743" y="2295854"/>
                  </a:lnTo>
                  <a:lnTo>
                    <a:pt x="1021002" y="2280008"/>
                  </a:lnTo>
                  <a:lnTo>
                    <a:pt x="988760" y="2250640"/>
                  </a:lnTo>
                  <a:lnTo>
                    <a:pt x="978013" y="2293357"/>
                  </a:lnTo>
                  <a:lnTo>
                    <a:pt x="988760" y="2294652"/>
                  </a:lnTo>
                  <a:lnTo>
                    <a:pt x="998743" y="2295854"/>
                  </a:lnTo>
                  <a:lnTo>
                    <a:pt x="953495" y="2328064"/>
                  </a:lnTo>
                  <a:cubicBezTo>
                    <a:pt x="928978" y="2338744"/>
                    <a:pt x="902781" y="2344083"/>
                    <a:pt x="875913" y="2344083"/>
                  </a:cubicBezTo>
                  <a:cubicBezTo>
                    <a:pt x="829565" y="2344083"/>
                    <a:pt x="781705" y="2326062"/>
                    <a:pt x="744803" y="2292273"/>
                  </a:cubicBezTo>
                  <a:lnTo>
                    <a:pt x="739855" y="2286393"/>
                  </a:lnTo>
                  <a:lnTo>
                    <a:pt x="779186" y="2263989"/>
                  </a:lnTo>
                  <a:lnTo>
                    <a:pt x="749631" y="2229282"/>
                  </a:lnTo>
                  <a:lnTo>
                    <a:pt x="712015" y="2253310"/>
                  </a:lnTo>
                  <a:lnTo>
                    <a:pt x="739855" y="2286393"/>
                  </a:lnTo>
                  <a:lnTo>
                    <a:pt x="726457" y="2294024"/>
                  </a:lnTo>
                  <a:cubicBezTo>
                    <a:pt x="707985" y="2300699"/>
                    <a:pt x="689177" y="2304036"/>
                    <a:pt x="671712" y="2304036"/>
                  </a:cubicBezTo>
                  <a:cubicBezTo>
                    <a:pt x="628723" y="2304036"/>
                    <a:pt x="588420" y="2288017"/>
                    <a:pt x="558865" y="2258650"/>
                  </a:cubicBezTo>
                  <a:cubicBezTo>
                    <a:pt x="536698" y="2238626"/>
                    <a:pt x="519066" y="2211094"/>
                    <a:pt x="511635" y="2179432"/>
                  </a:cubicBezTo>
                  <a:lnTo>
                    <a:pt x="509043" y="2157103"/>
                  </a:lnTo>
                  <a:lnTo>
                    <a:pt x="537370" y="2162537"/>
                  </a:lnTo>
                  <a:cubicBezTo>
                    <a:pt x="545430" y="2162537"/>
                    <a:pt x="553491" y="2162537"/>
                    <a:pt x="561551" y="2159867"/>
                  </a:cubicBezTo>
                  <a:lnTo>
                    <a:pt x="556178" y="2117150"/>
                  </a:lnTo>
                  <a:lnTo>
                    <a:pt x="513188" y="2106471"/>
                  </a:lnTo>
                  <a:cubicBezTo>
                    <a:pt x="507814" y="2119820"/>
                    <a:pt x="507814" y="2133169"/>
                    <a:pt x="507814" y="2146518"/>
                  </a:cubicBezTo>
                  <a:lnTo>
                    <a:pt x="509043" y="2157103"/>
                  </a:lnTo>
                  <a:lnTo>
                    <a:pt x="469527" y="2149522"/>
                  </a:lnTo>
                  <a:cubicBezTo>
                    <a:pt x="448704" y="2141178"/>
                    <a:pt x="429896" y="2129164"/>
                    <a:pt x="413775" y="2114480"/>
                  </a:cubicBezTo>
                  <a:cubicBezTo>
                    <a:pt x="397654" y="2099796"/>
                    <a:pt x="384891" y="2081108"/>
                    <a:pt x="376159" y="2060417"/>
                  </a:cubicBezTo>
                  <a:lnTo>
                    <a:pt x="368430" y="2022401"/>
                  </a:lnTo>
                  <a:lnTo>
                    <a:pt x="405714" y="2026377"/>
                  </a:lnTo>
                  <a:lnTo>
                    <a:pt x="408401" y="2026377"/>
                  </a:lnTo>
                  <a:lnTo>
                    <a:pt x="411088" y="2026377"/>
                  </a:lnTo>
                  <a:lnTo>
                    <a:pt x="408401" y="1980991"/>
                  </a:lnTo>
                  <a:lnTo>
                    <a:pt x="405714" y="1980834"/>
                  </a:lnTo>
                  <a:lnTo>
                    <a:pt x="405714" y="1938274"/>
                  </a:lnTo>
                  <a:lnTo>
                    <a:pt x="404892" y="1938088"/>
                  </a:lnTo>
                  <a:lnTo>
                    <a:pt x="456764" y="1932934"/>
                  </a:lnTo>
                  <a:lnTo>
                    <a:pt x="451391" y="1986330"/>
                  </a:lnTo>
                  <a:lnTo>
                    <a:pt x="451391" y="1994340"/>
                  </a:lnTo>
                  <a:cubicBezTo>
                    <a:pt x="451391" y="2015698"/>
                    <a:pt x="459451" y="2034387"/>
                    <a:pt x="475572" y="2047736"/>
                  </a:cubicBezTo>
                  <a:cubicBezTo>
                    <a:pt x="491693" y="2063754"/>
                    <a:pt x="513188" y="2074434"/>
                    <a:pt x="537370" y="2074434"/>
                  </a:cubicBezTo>
                  <a:cubicBezTo>
                    <a:pt x="542743" y="2074434"/>
                    <a:pt x="545430" y="2074434"/>
                    <a:pt x="550804" y="2071764"/>
                  </a:cubicBezTo>
                  <a:lnTo>
                    <a:pt x="615288" y="2063754"/>
                  </a:lnTo>
                  <a:lnTo>
                    <a:pt x="599167" y="2127829"/>
                  </a:lnTo>
                  <a:cubicBezTo>
                    <a:pt x="596480" y="2133169"/>
                    <a:pt x="596480" y="2141178"/>
                    <a:pt x="596480" y="2146518"/>
                  </a:cubicBezTo>
                  <a:cubicBezTo>
                    <a:pt x="596480" y="2165207"/>
                    <a:pt x="604541" y="2181225"/>
                    <a:pt x="617975" y="2194574"/>
                  </a:cubicBezTo>
                  <a:cubicBezTo>
                    <a:pt x="631409" y="2207923"/>
                    <a:pt x="652904" y="2213263"/>
                    <a:pt x="671712" y="2213263"/>
                  </a:cubicBezTo>
                  <a:cubicBezTo>
                    <a:pt x="687833" y="2213263"/>
                    <a:pt x="703954" y="2210593"/>
                    <a:pt x="720075" y="2197244"/>
                  </a:cubicBezTo>
                  <a:lnTo>
                    <a:pt x="757691" y="2162537"/>
                  </a:lnTo>
                  <a:lnTo>
                    <a:pt x="784560" y="2205254"/>
                  </a:lnTo>
                  <a:cubicBezTo>
                    <a:pt x="808741" y="2239961"/>
                    <a:pt x="843670" y="2255980"/>
                    <a:pt x="875913" y="2255980"/>
                  </a:cubicBezTo>
                  <a:cubicBezTo>
                    <a:pt x="902781" y="2255980"/>
                    <a:pt x="932336" y="2245301"/>
                    <a:pt x="953831" y="2221272"/>
                  </a:cubicBezTo>
                  <a:lnTo>
                    <a:pt x="967265" y="2205254"/>
                  </a:lnTo>
                  <a:lnTo>
                    <a:pt x="988760" y="2205254"/>
                  </a:lnTo>
                  <a:lnTo>
                    <a:pt x="991447" y="2205254"/>
                  </a:lnTo>
                  <a:lnTo>
                    <a:pt x="996821" y="2207923"/>
                  </a:lnTo>
                  <a:cubicBezTo>
                    <a:pt x="1021002" y="2213263"/>
                    <a:pt x="1045184" y="2213263"/>
                    <a:pt x="1066679" y="2213263"/>
                  </a:cubicBezTo>
                  <a:cubicBezTo>
                    <a:pt x="1147284" y="2213263"/>
                    <a:pt x="1206395" y="2183895"/>
                    <a:pt x="1252071" y="2127829"/>
                  </a:cubicBezTo>
                  <a:cubicBezTo>
                    <a:pt x="1295061" y="2074434"/>
                    <a:pt x="1321929" y="1986330"/>
                    <a:pt x="1321929" y="1871529"/>
                  </a:cubicBezTo>
                  <a:close/>
                  <a:moveTo>
                    <a:pt x="752318" y="0"/>
                  </a:moveTo>
                  <a:cubicBezTo>
                    <a:pt x="804711" y="0"/>
                    <a:pt x="855593" y="21025"/>
                    <a:pt x="893629" y="60822"/>
                  </a:cubicBezTo>
                  <a:lnTo>
                    <a:pt x="908534" y="81378"/>
                  </a:lnTo>
                  <a:lnTo>
                    <a:pt x="878599" y="85434"/>
                  </a:lnTo>
                  <a:lnTo>
                    <a:pt x="886660" y="128150"/>
                  </a:lnTo>
                  <a:lnTo>
                    <a:pt x="926963" y="106792"/>
                  </a:lnTo>
                  <a:lnTo>
                    <a:pt x="908534" y="81378"/>
                  </a:lnTo>
                  <a:lnTo>
                    <a:pt x="937710" y="77424"/>
                  </a:lnTo>
                  <a:cubicBezTo>
                    <a:pt x="1010255" y="77424"/>
                    <a:pt x="1077426" y="109462"/>
                    <a:pt x="1123102" y="157518"/>
                  </a:cubicBezTo>
                  <a:cubicBezTo>
                    <a:pt x="1168779" y="202905"/>
                    <a:pt x="1198334" y="266980"/>
                    <a:pt x="1198334" y="336395"/>
                  </a:cubicBezTo>
                  <a:cubicBezTo>
                    <a:pt x="1198334" y="361758"/>
                    <a:pt x="1194304" y="387121"/>
                    <a:pt x="1185908" y="412150"/>
                  </a:cubicBezTo>
                  <a:lnTo>
                    <a:pt x="1178382" y="426521"/>
                  </a:lnTo>
                  <a:lnTo>
                    <a:pt x="1165127" y="421578"/>
                  </a:lnTo>
                  <a:cubicBezTo>
                    <a:pt x="1148124" y="417156"/>
                    <a:pt x="1130492" y="414486"/>
                    <a:pt x="1112355" y="413819"/>
                  </a:cubicBezTo>
                  <a:lnTo>
                    <a:pt x="1109668" y="459205"/>
                  </a:lnTo>
                  <a:lnTo>
                    <a:pt x="1147284" y="485903"/>
                  </a:lnTo>
                  <a:lnTo>
                    <a:pt x="1178382" y="426521"/>
                  </a:lnTo>
                  <a:lnTo>
                    <a:pt x="1214120" y="439849"/>
                  </a:lnTo>
                  <a:cubicBezTo>
                    <a:pt x="1245354" y="455201"/>
                    <a:pt x="1273566" y="476559"/>
                    <a:pt x="1297748" y="501922"/>
                  </a:cubicBezTo>
                  <a:cubicBezTo>
                    <a:pt x="1323273" y="527285"/>
                    <a:pt x="1344096" y="557321"/>
                    <a:pt x="1358538" y="590693"/>
                  </a:cubicBezTo>
                  <a:lnTo>
                    <a:pt x="1368598" y="622321"/>
                  </a:lnTo>
                  <a:lnTo>
                    <a:pt x="1274100" y="622321"/>
                  </a:lnTo>
                  <a:lnTo>
                    <a:pt x="1233263" y="563328"/>
                  </a:lnTo>
                  <a:cubicBezTo>
                    <a:pt x="1198334" y="528620"/>
                    <a:pt x="1152658" y="504592"/>
                    <a:pt x="1109668" y="504592"/>
                  </a:cubicBezTo>
                  <a:lnTo>
                    <a:pt x="1023689" y="499252"/>
                  </a:lnTo>
                  <a:lnTo>
                    <a:pt x="1074739" y="432507"/>
                  </a:lnTo>
                  <a:cubicBezTo>
                    <a:pt x="1098921" y="400470"/>
                    <a:pt x="1109668" y="368432"/>
                    <a:pt x="1109668" y="336395"/>
                  </a:cubicBezTo>
                  <a:cubicBezTo>
                    <a:pt x="1109668" y="293678"/>
                    <a:pt x="1090860" y="250961"/>
                    <a:pt x="1058618" y="218924"/>
                  </a:cubicBezTo>
                  <a:cubicBezTo>
                    <a:pt x="1029063" y="186886"/>
                    <a:pt x="986073" y="168197"/>
                    <a:pt x="937710" y="165528"/>
                  </a:cubicBezTo>
                  <a:cubicBezTo>
                    <a:pt x="924276" y="165528"/>
                    <a:pt x="910842" y="168197"/>
                    <a:pt x="897407" y="170867"/>
                  </a:cubicBezTo>
                  <a:lnTo>
                    <a:pt x="865165" y="178877"/>
                  </a:lnTo>
                  <a:lnTo>
                    <a:pt x="849044" y="149509"/>
                  </a:lnTo>
                  <a:cubicBezTo>
                    <a:pt x="824862" y="106792"/>
                    <a:pt x="787247" y="88103"/>
                    <a:pt x="752318" y="88103"/>
                  </a:cubicBezTo>
                  <a:cubicBezTo>
                    <a:pt x="725449" y="88103"/>
                    <a:pt x="698581" y="98783"/>
                    <a:pt x="674399" y="122811"/>
                  </a:cubicBezTo>
                  <a:lnTo>
                    <a:pt x="658278" y="141499"/>
                  </a:lnTo>
                  <a:lnTo>
                    <a:pt x="631409" y="133490"/>
                  </a:lnTo>
                  <a:cubicBezTo>
                    <a:pt x="617975" y="130820"/>
                    <a:pt x="607228" y="130820"/>
                    <a:pt x="593794" y="130820"/>
                  </a:cubicBezTo>
                  <a:cubicBezTo>
                    <a:pt x="553491" y="130820"/>
                    <a:pt x="518562" y="146839"/>
                    <a:pt x="491693" y="173537"/>
                  </a:cubicBezTo>
                  <a:cubicBezTo>
                    <a:pt x="464825" y="200235"/>
                    <a:pt x="446017" y="237612"/>
                    <a:pt x="446017" y="280329"/>
                  </a:cubicBezTo>
                  <a:cubicBezTo>
                    <a:pt x="446017" y="282999"/>
                    <a:pt x="446017" y="288338"/>
                    <a:pt x="446017" y="291008"/>
                  </a:cubicBezTo>
                  <a:lnTo>
                    <a:pt x="451391" y="323046"/>
                  </a:lnTo>
                  <a:lnTo>
                    <a:pt x="421835" y="336395"/>
                  </a:lnTo>
                  <a:cubicBezTo>
                    <a:pt x="365412" y="360423"/>
                    <a:pt x="327796" y="416489"/>
                    <a:pt x="327796" y="483234"/>
                  </a:cubicBezTo>
                  <a:cubicBezTo>
                    <a:pt x="327796" y="499252"/>
                    <a:pt x="330482" y="517941"/>
                    <a:pt x="338543" y="539299"/>
                  </a:cubicBezTo>
                  <a:lnTo>
                    <a:pt x="351977" y="579346"/>
                  </a:lnTo>
                  <a:lnTo>
                    <a:pt x="311675" y="595365"/>
                  </a:lnTo>
                  <a:cubicBezTo>
                    <a:pt x="239130" y="619393"/>
                    <a:pt x="198827" y="686138"/>
                    <a:pt x="198827" y="752883"/>
                  </a:cubicBezTo>
                  <a:cubicBezTo>
                    <a:pt x="198827" y="779581"/>
                    <a:pt x="204201" y="806279"/>
                    <a:pt x="217635" y="830307"/>
                  </a:cubicBezTo>
                  <a:lnTo>
                    <a:pt x="239130" y="873024"/>
                  </a:lnTo>
                  <a:lnTo>
                    <a:pt x="196140" y="891713"/>
                  </a:lnTo>
                  <a:cubicBezTo>
                    <a:pt x="137029" y="918411"/>
                    <a:pt x="91353" y="985156"/>
                    <a:pt x="91353" y="1065250"/>
                  </a:cubicBezTo>
                  <a:cubicBezTo>
                    <a:pt x="91353" y="1129325"/>
                    <a:pt x="118222" y="1182721"/>
                    <a:pt x="161211" y="1217428"/>
                  </a:cubicBezTo>
                  <a:lnTo>
                    <a:pt x="198827" y="1246796"/>
                  </a:lnTo>
                  <a:lnTo>
                    <a:pt x="163898" y="1281503"/>
                  </a:lnTo>
                  <a:cubicBezTo>
                    <a:pt x="142403" y="1305532"/>
                    <a:pt x="131656" y="1332230"/>
                    <a:pt x="131656" y="1358928"/>
                  </a:cubicBezTo>
                  <a:cubicBezTo>
                    <a:pt x="134343" y="1396305"/>
                    <a:pt x="153151" y="1433682"/>
                    <a:pt x="190766" y="1452371"/>
                  </a:cubicBezTo>
                  <a:lnTo>
                    <a:pt x="231069" y="1473729"/>
                  </a:lnTo>
                  <a:lnTo>
                    <a:pt x="212261" y="1511106"/>
                  </a:lnTo>
                  <a:cubicBezTo>
                    <a:pt x="201514" y="1532464"/>
                    <a:pt x="198827" y="1551153"/>
                    <a:pt x="198827" y="1572511"/>
                  </a:cubicBezTo>
                  <a:cubicBezTo>
                    <a:pt x="198827" y="1601879"/>
                    <a:pt x="206888" y="1633917"/>
                    <a:pt x="225695" y="1655275"/>
                  </a:cubicBezTo>
                  <a:cubicBezTo>
                    <a:pt x="241817" y="1679303"/>
                    <a:pt x="265998" y="1695322"/>
                    <a:pt x="295553" y="1700662"/>
                  </a:cubicBezTo>
                  <a:lnTo>
                    <a:pt x="360038" y="1711341"/>
                  </a:lnTo>
                  <a:lnTo>
                    <a:pt x="322422" y="1767407"/>
                  </a:lnTo>
                  <a:cubicBezTo>
                    <a:pt x="311675" y="1786095"/>
                    <a:pt x="306301" y="1807454"/>
                    <a:pt x="306301" y="1828812"/>
                  </a:cubicBezTo>
                  <a:cubicBezTo>
                    <a:pt x="306301" y="1858180"/>
                    <a:pt x="317048" y="1884878"/>
                    <a:pt x="335856" y="1906236"/>
                  </a:cubicBezTo>
                  <a:cubicBezTo>
                    <a:pt x="343917" y="1915581"/>
                    <a:pt x="353992" y="1923590"/>
                    <a:pt x="365747" y="1929263"/>
                  </a:cubicBezTo>
                  <a:lnTo>
                    <a:pt x="404892" y="1938088"/>
                  </a:lnTo>
                  <a:lnTo>
                    <a:pt x="403027" y="1938274"/>
                  </a:lnTo>
                  <a:lnTo>
                    <a:pt x="405704" y="1980833"/>
                  </a:lnTo>
                  <a:lnTo>
                    <a:pt x="362725" y="1978321"/>
                  </a:lnTo>
                  <a:cubicBezTo>
                    <a:pt x="362725" y="1983660"/>
                    <a:pt x="362725" y="1989000"/>
                    <a:pt x="362725" y="1994340"/>
                  </a:cubicBezTo>
                  <a:lnTo>
                    <a:pt x="368430" y="2022401"/>
                  </a:lnTo>
                  <a:lnTo>
                    <a:pt x="365034" y="2022039"/>
                  </a:lnTo>
                  <a:cubicBezTo>
                    <a:pt x="326116" y="2013529"/>
                    <a:pt x="292867" y="1993005"/>
                    <a:pt x="268685" y="1964972"/>
                  </a:cubicBezTo>
                  <a:cubicBezTo>
                    <a:pt x="233756" y="1927595"/>
                    <a:pt x="214948" y="1879538"/>
                    <a:pt x="214948" y="1828812"/>
                  </a:cubicBezTo>
                  <a:cubicBezTo>
                    <a:pt x="214948" y="1810124"/>
                    <a:pt x="217635" y="1791435"/>
                    <a:pt x="223009" y="1773080"/>
                  </a:cubicBezTo>
                  <a:lnTo>
                    <a:pt x="225897" y="1766662"/>
                  </a:lnTo>
                  <a:lnTo>
                    <a:pt x="276746" y="1786095"/>
                  </a:lnTo>
                  <a:lnTo>
                    <a:pt x="284806" y="1743379"/>
                  </a:lnTo>
                  <a:lnTo>
                    <a:pt x="247190" y="1719350"/>
                  </a:lnTo>
                  <a:lnTo>
                    <a:pt x="225897" y="1766662"/>
                  </a:lnTo>
                  <a:lnTo>
                    <a:pt x="206887" y="1759398"/>
                  </a:lnTo>
                  <a:cubicBezTo>
                    <a:pt x="186064" y="1746049"/>
                    <a:pt x="167928" y="1728695"/>
                    <a:pt x="153151" y="1708671"/>
                  </a:cubicBezTo>
                  <a:cubicBezTo>
                    <a:pt x="123595" y="1671294"/>
                    <a:pt x="107474" y="1623238"/>
                    <a:pt x="107474" y="1572511"/>
                  </a:cubicBezTo>
                  <a:cubicBezTo>
                    <a:pt x="107474" y="1556492"/>
                    <a:pt x="109489" y="1539806"/>
                    <a:pt x="113520" y="1523120"/>
                  </a:cubicBezTo>
                  <a:lnTo>
                    <a:pt x="118568" y="1509370"/>
                  </a:lnTo>
                  <a:lnTo>
                    <a:pt x="150464" y="1532464"/>
                  </a:lnTo>
                  <a:lnTo>
                    <a:pt x="171958" y="1492417"/>
                  </a:lnTo>
                  <a:lnTo>
                    <a:pt x="131656" y="1473729"/>
                  </a:lnTo>
                  <a:lnTo>
                    <a:pt x="118568" y="1509370"/>
                  </a:lnTo>
                  <a:lnTo>
                    <a:pt x="104200" y="1498967"/>
                  </a:lnTo>
                  <a:cubicBezTo>
                    <a:pt x="64149" y="1460547"/>
                    <a:pt x="42990" y="1408986"/>
                    <a:pt x="42990" y="1358928"/>
                  </a:cubicBezTo>
                  <a:cubicBezTo>
                    <a:pt x="42990" y="1333565"/>
                    <a:pt x="47692" y="1308201"/>
                    <a:pt x="57096" y="1284507"/>
                  </a:cubicBezTo>
                  <a:lnTo>
                    <a:pt x="74728" y="1257670"/>
                  </a:lnTo>
                  <a:lnTo>
                    <a:pt x="102100" y="1286843"/>
                  </a:lnTo>
                  <a:lnTo>
                    <a:pt x="131656" y="1252136"/>
                  </a:lnTo>
                  <a:lnTo>
                    <a:pt x="99414" y="1220098"/>
                  </a:lnTo>
                  <a:lnTo>
                    <a:pt x="74728" y="1257670"/>
                  </a:lnTo>
                  <a:lnTo>
                    <a:pt x="60454" y="1242458"/>
                  </a:lnTo>
                  <a:cubicBezTo>
                    <a:pt x="23678" y="1193901"/>
                    <a:pt x="2016" y="1133330"/>
                    <a:pt x="0" y="1065250"/>
                  </a:cubicBezTo>
                  <a:cubicBezTo>
                    <a:pt x="2016" y="981151"/>
                    <a:pt x="37280" y="904561"/>
                    <a:pt x="94460" y="853501"/>
                  </a:cubicBezTo>
                  <a:lnTo>
                    <a:pt x="123124" y="834762"/>
                  </a:lnTo>
                  <a:lnTo>
                    <a:pt x="137029" y="873024"/>
                  </a:lnTo>
                  <a:lnTo>
                    <a:pt x="177332" y="851666"/>
                  </a:lnTo>
                  <a:lnTo>
                    <a:pt x="158524" y="811619"/>
                  </a:lnTo>
                  <a:lnTo>
                    <a:pt x="123124" y="834762"/>
                  </a:lnTo>
                  <a:lnTo>
                    <a:pt x="115199" y="812954"/>
                  </a:lnTo>
                  <a:cubicBezTo>
                    <a:pt x="110161" y="792930"/>
                    <a:pt x="107474" y="772907"/>
                    <a:pt x="107474" y="752883"/>
                  </a:cubicBezTo>
                  <a:cubicBezTo>
                    <a:pt x="107474" y="674792"/>
                    <a:pt x="143747" y="599704"/>
                    <a:pt x="207223" y="550146"/>
                  </a:cubicBezTo>
                  <a:lnTo>
                    <a:pt x="243238" y="530089"/>
                  </a:lnTo>
                  <a:lnTo>
                    <a:pt x="252564" y="565997"/>
                  </a:lnTo>
                  <a:lnTo>
                    <a:pt x="295553" y="552648"/>
                  </a:lnTo>
                  <a:lnTo>
                    <a:pt x="279432" y="509932"/>
                  </a:lnTo>
                  <a:lnTo>
                    <a:pt x="243238" y="530089"/>
                  </a:lnTo>
                  <a:lnTo>
                    <a:pt x="241817" y="524616"/>
                  </a:lnTo>
                  <a:cubicBezTo>
                    <a:pt x="239802" y="510599"/>
                    <a:pt x="239130" y="496583"/>
                    <a:pt x="239130" y="483234"/>
                  </a:cubicBezTo>
                  <a:cubicBezTo>
                    <a:pt x="239130" y="409147"/>
                    <a:pt x="270868" y="339565"/>
                    <a:pt x="324143" y="292510"/>
                  </a:cubicBezTo>
                  <a:lnTo>
                    <a:pt x="358347" y="270374"/>
                  </a:lnTo>
                  <a:lnTo>
                    <a:pt x="357351" y="280329"/>
                  </a:lnTo>
                  <a:cubicBezTo>
                    <a:pt x="357351" y="285669"/>
                    <a:pt x="357351" y="291008"/>
                    <a:pt x="357351" y="299018"/>
                  </a:cubicBezTo>
                  <a:lnTo>
                    <a:pt x="403027" y="293678"/>
                  </a:lnTo>
                  <a:lnTo>
                    <a:pt x="384219" y="253631"/>
                  </a:lnTo>
                  <a:lnTo>
                    <a:pt x="358347" y="270374"/>
                  </a:lnTo>
                  <a:lnTo>
                    <a:pt x="362221" y="231678"/>
                  </a:lnTo>
                  <a:cubicBezTo>
                    <a:pt x="384555" y="121810"/>
                    <a:pt x="480946" y="40047"/>
                    <a:pt x="593794" y="40047"/>
                  </a:cubicBezTo>
                  <a:lnTo>
                    <a:pt x="633696" y="45219"/>
                  </a:lnTo>
                  <a:lnTo>
                    <a:pt x="609915" y="61405"/>
                  </a:lnTo>
                  <a:lnTo>
                    <a:pt x="642157" y="90773"/>
                  </a:lnTo>
                  <a:lnTo>
                    <a:pt x="655591" y="48056"/>
                  </a:lnTo>
                  <a:lnTo>
                    <a:pt x="633696" y="45219"/>
                  </a:lnTo>
                  <a:lnTo>
                    <a:pt x="677086" y="15685"/>
                  </a:lnTo>
                  <a:cubicBezTo>
                    <a:pt x="701267" y="5340"/>
                    <a:pt x="726793" y="0"/>
                    <a:pt x="7523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34" name="Freeform 119">
              <a:extLst>
                <a:ext uri="{FF2B5EF4-FFF2-40B4-BE49-F238E27FC236}">
                  <a16:creationId xmlns:a16="http://schemas.microsoft.com/office/drawing/2014/main" id="{0FDCDB8C-D4AF-41BF-96DA-BE02DE386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5579" y="3733387"/>
              <a:ext cx="497857" cy="331905"/>
            </a:xfrm>
            <a:custGeom>
              <a:avLst/>
              <a:gdLst>
                <a:gd name="T0" fmla="*/ 28 w 191"/>
                <a:gd name="T1" fmla="*/ 67 h 122"/>
                <a:gd name="T2" fmla="*/ 57 w 191"/>
                <a:gd name="T3" fmla="*/ 42 h 122"/>
                <a:gd name="T4" fmla="*/ 95 w 191"/>
                <a:gd name="T5" fmla="*/ 33 h 122"/>
                <a:gd name="T6" fmla="*/ 139 w 191"/>
                <a:gd name="T7" fmla="*/ 48 h 122"/>
                <a:gd name="T8" fmla="*/ 157 w 191"/>
                <a:gd name="T9" fmla="*/ 86 h 122"/>
                <a:gd name="T10" fmla="*/ 153 w 191"/>
                <a:gd name="T11" fmla="*/ 111 h 122"/>
                <a:gd name="T12" fmla="*/ 184 w 191"/>
                <a:gd name="T13" fmla="*/ 122 h 122"/>
                <a:gd name="T14" fmla="*/ 191 w 191"/>
                <a:gd name="T15" fmla="*/ 86 h 122"/>
                <a:gd name="T16" fmla="*/ 161 w 191"/>
                <a:gd name="T17" fmla="*/ 23 h 122"/>
                <a:gd name="T18" fmla="*/ 95 w 191"/>
                <a:gd name="T19" fmla="*/ 0 h 122"/>
                <a:gd name="T20" fmla="*/ 42 w 191"/>
                <a:gd name="T21" fmla="*/ 13 h 122"/>
                <a:gd name="T22" fmla="*/ 0 w 191"/>
                <a:gd name="T23" fmla="*/ 48 h 122"/>
                <a:gd name="T24" fmla="*/ 28 w 191"/>
                <a:gd name="T25" fmla="*/ 6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1" h="122">
                  <a:moveTo>
                    <a:pt x="28" y="67"/>
                  </a:moveTo>
                  <a:cubicBezTo>
                    <a:pt x="35" y="57"/>
                    <a:pt x="46" y="48"/>
                    <a:pt x="57" y="42"/>
                  </a:cubicBezTo>
                  <a:cubicBezTo>
                    <a:pt x="69" y="36"/>
                    <a:pt x="82" y="33"/>
                    <a:pt x="95" y="33"/>
                  </a:cubicBezTo>
                  <a:cubicBezTo>
                    <a:pt x="112" y="33"/>
                    <a:pt x="128" y="39"/>
                    <a:pt x="139" y="48"/>
                  </a:cubicBezTo>
                  <a:cubicBezTo>
                    <a:pt x="150" y="58"/>
                    <a:pt x="157" y="70"/>
                    <a:pt x="157" y="86"/>
                  </a:cubicBezTo>
                  <a:cubicBezTo>
                    <a:pt x="157" y="94"/>
                    <a:pt x="156" y="102"/>
                    <a:pt x="153" y="111"/>
                  </a:cubicBezTo>
                  <a:lnTo>
                    <a:pt x="184" y="122"/>
                  </a:lnTo>
                  <a:cubicBezTo>
                    <a:pt x="188" y="110"/>
                    <a:pt x="191" y="98"/>
                    <a:pt x="191" y="86"/>
                  </a:cubicBezTo>
                  <a:cubicBezTo>
                    <a:pt x="191" y="60"/>
                    <a:pt x="179" y="38"/>
                    <a:pt x="161" y="23"/>
                  </a:cubicBezTo>
                  <a:cubicBezTo>
                    <a:pt x="143" y="8"/>
                    <a:pt x="119" y="0"/>
                    <a:pt x="95" y="0"/>
                  </a:cubicBezTo>
                  <a:cubicBezTo>
                    <a:pt x="77" y="0"/>
                    <a:pt x="59" y="4"/>
                    <a:pt x="42" y="13"/>
                  </a:cubicBezTo>
                  <a:cubicBezTo>
                    <a:pt x="26" y="21"/>
                    <a:pt x="11" y="33"/>
                    <a:pt x="0" y="48"/>
                  </a:cubicBezTo>
                  <a:lnTo>
                    <a:pt x="28" y="67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35" name="Freeform 120">
              <a:extLst>
                <a:ext uri="{FF2B5EF4-FFF2-40B4-BE49-F238E27FC236}">
                  <a16:creationId xmlns:a16="http://schemas.microsoft.com/office/drawing/2014/main" id="{455C71C4-63E7-4BB2-A309-F5846929D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1210" y="2675434"/>
              <a:ext cx="269679" cy="352655"/>
            </a:xfrm>
            <a:custGeom>
              <a:avLst/>
              <a:gdLst>
                <a:gd name="T0" fmla="*/ 33 w 102"/>
                <a:gd name="T1" fmla="*/ 0 h 128"/>
                <a:gd name="T2" fmla="*/ 8 w 102"/>
                <a:gd name="T3" fmla="*/ 28 h 128"/>
                <a:gd name="T4" fmla="*/ 0 w 102"/>
                <a:gd name="T5" fmla="*/ 64 h 128"/>
                <a:gd name="T6" fmla="*/ 2 w 102"/>
                <a:gd name="T7" fmla="*/ 79 h 128"/>
                <a:gd name="T8" fmla="*/ 2 w 102"/>
                <a:gd name="T9" fmla="*/ 79 h 128"/>
                <a:gd name="T10" fmla="*/ 27 w 102"/>
                <a:gd name="T11" fmla="*/ 117 h 128"/>
                <a:gd name="T12" fmla="*/ 69 w 102"/>
                <a:gd name="T13" fmla="*/ 128 h 128"/>
                <a:gd name="T14" fmla="*/ 102 w 102"/>
                <a:gd name="T15" fmla="*/ 121 h 128"/>
                <a:gd name="T16" fmla="*/ 88 w 102"/>
                <a:gd name="T17" fmla="*/ 91 h 128"/>
                <a:gd name="T18" fmla="*/ 69 w 102"/>
                <a:gd name="T19" fmla="*/ 95 h 128"/>
                <a:gd name="T20" fmla="*/ 46 w 102"/>
                <a:gd name="T21" fmla="*/ 89 h 128"/>
                <a:gd name="T22" fmla="*/ 34 w 102"/>
                <a:gd name="T23" fmla="*/ 73 h 128"/>
                <a:gd name="T24" fmla="*/ 34 w 102"/>
                <a:gd name="T25" fmla="*/ 73 h 128"/>
                <a:gd name="T26" fmla="*/ 34 w 102"/>
                <a:gd name="T27" fmla="*/ 64 h 128"/>
                <a:gd name="T28" fmla="*/ 38 w 102"/>
                <a:gd name="T29" fmla="*/ 42 h 128"/>
                <a:gd name="T30" fmla="*/ 50 w 102"/>
                <a:gd name="T31" fmla="*/ 29 h 128"/>
                <a:gd name="T32" fmla="*/ 33 w 102"/>
                <a:gd name="T33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2" h="128">
                  <a:moveTo>
                    <a:pt x="33" y="0"/>
                  </a:moveTo>
                  <a:cubicBezTo>
                    <a:pt x="21" y="6"/>
                    <a:pt x="13" y="17"/>
                    <a:pt x="8" y="28"/>
                  </a:cubicBezTo>
                  <a:cubicBezTo>
                    <a:pt x="3" y="39"/>
                    <a:pt x="0" y="52"/>
                    <a:pt x="0" y="64"/>
                  </a:cubicBezTo>
                  <a:cubicBezTo>
                    <a:pt x="0" y="69"/>
                    <a:pt x="1" y="74"/>
                    <a:pt x="2" y="79"/>
                  </a:cubicBezTo>
                  <a:lnTo>
                    <a:pt x="2" y="79"/>
                  </a:lnTo>
                  <a:cubicBezTo>
                    <a:pt x="5" y="96"/>
                    <a:pt x="15" y="109"/>
                    <a:pt x="27" y="117"/>
                  </a:cubicBezTo>
                  <a:cubicBezTo>
                    <a:pt x="40" y="125"/>
                    <a:pt x="54" y="128"/>
                    <a:pt x="69" y="128"/>
                  </a:cubicBezTo>
                  <a:cubicBezTo>
                    <a:pt x="80" y="128"/>
                    <a:pt x="92" y="126"/>
                    <a:pt x="102" y="121"/>
                  </a:cubicBezTo>
                  <a:lnTo>
                    <a:pt x="88" y="91"/>
                  </a:lnTo>
                  <a:cubicBezTo>
                    <a:pt x="83" y="94"/>
                    <a:pt x="76" y="95"/>
                    <a:pt x="69" y="95"/>
                  </a:cubicBezTo>
                  <a:cubicBezTo>
                    <a:pt x="60" y="95"/>
                    <a:pt x="52" y="93"/>
                    <a:pt x="46" y="89"/>
                  </a:cubicBezTo>
                  <a:cubicBezTo>
                    <a:pt x="40" y="85"/>
                    <a:pt x="36" y="80"/>
                    <a:pt x="34" y="73"/>
                  </a:cubicBezTo>
                  <a:lnTo>
                    <a:pt x="34" y="73"/>
                  </a:lnTo>
                  <a:cubicBezTo>
                    <a:pt x="34" y="70"/>
                    <a:pt x="34" y="67"/>
                    <a:pt x="34" y="64"/>
                  </a:cubicBezTo>
                  <a:cubicBezTo>
                    <a:pt x="34" y="57"/>
                    <a:pt x="35" y="49"/>
                    <a:pt x="38" y="42"/>
                  </a:cubicBezTo>
                  <a:cubicBezTo>
                    <a:pt x="41" y="36"/>
                    <a:pt x="45" y="31"/>
                    <a:pt x="50" y="29"/>
                  </a:cubicBezTo>
                  <a:lnTo>
                    <a:pt x="33" y="0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36" name="Freeform 121">
              <a:extLst>
                <a:ext uri="{FF2B5EF4-FFF2-40B4-BE49-F238E27FC236}">
                  <a16:creationId xmlns:a16="http://schemas.microsoft.com/office/drawing/2014/main" id="{02E10489-30A3-490D-B122-7486B622D8A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0794" y="3173291"/>
              <a:ext cx="165952" cy="103727"/>
            </a:xfrm>
            <a:custGeom>
              <a:avLst/>
              <a:gdLst>
                <a:gd name="T0" fmla="*/ 0 w 61"/>
                <a:gd name="T1" fmla="*/ 12 h 44"/>
                <a:gd name="T2" fmla="*/ 10 w 61"/>
                <a:gd name="T3" fmla="*/ 28 h 44"/>
                <a:gd name="T4" fmla="*/ 24 w 61"/>
                <a:gd name="T5" fmla="*/ 38 h 44"/>
                <a:gd name="T6" fmla="*/ 45 w 61"/>
                <a:gd name="T7" fmla="*/ 44 h 44"/>
                <a:gd name="T8" fmla="*/ 61 w 61"/>
                <a:gd name="T9" fmla="*/ 41 h 44"/>
                <a:gd name="T10" fmla="*/ 52 w 61"/>
                <a:gd name="T11" fmla="*/ 9 h 44"/>
                <a:gd name="T12" fmla="*/ 45 w 61"/>
                <a:gd name="T13" fmla="*/ 10 h 44"/>
                <a:gd name="T14" fmla="*/ 39 w 61"/>
                <a:gd name="T15" fmla="*/ 9 h 44"/>
                <a:gd name="T16" fmla="*/ 33 w 61"/>
                <a:gd name="T17" fmla="*/ 3 h 44"/>
                <a:gd name="T18" fmla="*/ 32 w 61"/>
                <a:gd name="T19" fmla="*/ 1 h 44"/>
                <a:gd name="T20" fmla="*/ 32 w 61"/>
                <a:gd name="T21" fmla="*/ 0 h 44"/>
                <a:gd name="T22" fmla="*/ 32 w 61"/>
                <a:gd name="T23" fmla="*/ 0 h 44"/>
                <a:gd name="T24" fmla="*/ 22 w 61"/>
                <a:gd name="T25" fmla="*/ 4 h 44"/>
                <a:gd name="T26" fmla="*/ 32 w 61"/>
                <a:gd name="T27" fmla="*/ 0 h 44"/>
                <a:gd name="T28" fmla="*/ 32 w 61"/>
                <a:gd name="T29" fmla="*/ 0 h 44"/>
                <a:gd name="T30" fmla="*/ 22 w 61"/>
                <a:gd name="T31" fmla="*/ 4 h 44"/>
                <a:gd name="T32" fmla="*/ 32 w 61"/>
                <a:gd name="T33" fmla="*/ 0 h 44"/>
                <a:gd name="T34" fmla="*/ 0 w 61"/>
                <a:gd name="T35" fmla="*/ 1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1" h="44">
                  <a:moveTo>
                    <a:pt x="0" y="12"/>
                  </a:moveTo>
                  <a:cubicBezTo>
                    <a:pt x="1" y="13"/>
                    <a:pt x="3" y="20"/>
                    <a:pt x="10" y="28"/>
                  </a:cubicBezTo>
                  <a:cubicBezTo>
                    <a:pt x="13" y="31"/>
                    <a:pt x="18" y="35"/>
                    <a:pt x="24" y="38"/>
                  </a:cubicBezTo>
                  <a:cubicBezTo>
                    <a:pt x="29" y="42"/>
                    <a:pt x="37" y="44"/>
                    <a:pt x="45" y="44"/>
                  </a:cubicBezTo>
                  <a:cubicBezTo>
                    <a:pt x="50" y="44"/>
                    <a:pt x="56" y="43"/>
                    <a:pt x="61" y="41"/>
                  </a:cubicBezTo>
                  <a:lnTo>
                    <a:pt x="52" y="9"/>
                  </a:lnTo>
                  <a:cubicBezTo>
                    <a:pt x="49" y="10"/>
                    <a:pt x="47" y="10"/>
                    <a:pt x="45" y="10"/>
                  </a:cubicBezTo>
                  <a:cubicBezTo>
                    <a:pt x="42" y="10"/>
                    <a:pt x="41" y="10"/>
                    <a:pt x="39" y="9"/>
                  </a:cubicBezTo>
                  <a:cubicBezTo>
                    <a:pt x="37" y="8"/>
                    <a:pt x="35" y="6"/>
                    <a:pt x="33" y="3"/>
                  </a:cubicBezTo>
                  <a:lnTo>
                    <a:pt x="32" y="1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2" y="4"/>
                  </a:lnTo>
                  <a:lnTo>
                    <a:pt x="32" y="0"/>
                  </a:lnTo>
                  <a:lnTo>
                    <a:pt x="0" y="12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37" name="Freeform 122">
              <a:extLst>
                <a:ext uri="{FF2B5EF4-FFF2-40B4-BE49-F238E27FC236}">
                  <a16:creationId xmlns:a16="http://schemas.microsoft.com/office/drawing/2014/main" id="{B94E5F45-0DC0-46B4-9718-C7DE45C2D5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7818" y="3442970"/>
              <a:ext cx="165952" cy="124464"/>
            </a:xfrm>
            <a:custGeom>
              <a:avLst/>
              <a:gdLst>
                <a:gd name="T0" fmla="*/ 4 w 58"/>
                <a:gd name="T1" fmla="*/ 34 h 48"/>
                <a:gd name="T2" fmla="*/ 3 w 58"/>
                <a:gd name="T3" fmla="*/ 25 h 48"/>
                <a:gd name="T4" fmla="*/ 3 w 58"/>
                <a:gd name="T5" fmla="*/ 34 h 48"/>
                <a:gd name="T6" fmla="*/ 4 w 58"/>
                <a:gd name="T7" fmla="*/ 34 h 48"/>
                <a:gd name="T8" fmla="*/ 3 w 58"/>
                <a:gd name="T9" fmla="*/ 25 h 48"/>
                <a:gd name="T10" fmla="*/ 3 w 58"/>
                <a:gd name="T11" fmla="*/ 34 h 48"/>
                <a:gd name="T12" fmla="*/ 3 w 58"/>
                <a:gd name="T13" fmla="*/ 34 h 48"/>
                <a:gd name="T14" fmla="*/ 15 w 58"/>
                <a:gd name="T15" fmla="*/ 36 h 48"/>
                <a:gd name="T16" fmla="*/ 34 w 58"/>
                <a:gd name="T17" fmla="*/ 48 h 48"/>
                <a:gd name="T18" fmla="*/ 58 w 58"/>
                <a:gd name="T19" fmla="*/ 25 h 48"/>
                <a:gd name="T20" fmla="*/ 26 w 58"/>
                <a:gd name="T21" fmla="*/ 4 h 48"/>
                <a:gd name="T22" fmla="*/ 3 w 58"/>
                <a:gd name="T23" fmla="*/ 0 h 48"/>
                <a:gd name="T24" fmla="*/ 0 w 58"/>
                <a:gd name="T25" fmla="*/ 0 h 48"/>
                <a:gd name="T26" fmla="*/ 4 w 58"/>
                <a:gd name="T27" fmla="*/ 3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" h="48">
                  <a:moveTo>
                    <a:pt x="4" y="34"/>
                  </a:moveTo>
                  <a:lnTo>
                    <a:pt x="3" y="25"/>
                  </a:lnTo>
                  <a:lnTo>
                    <a:pt x="3" y="34"/>
                  </a:lnTo>
                  <a:lnTo>
                    <a:pt x="4" y="34"/>
                  </a:lnTo>
                  <a:lnTo>
                    <a:pt x="3" y="25"/>
                  </a:lnTo>
                  <a:lnTo>
                    <a:pt x="3" y="34"/>
                  </a:lnTo>
                  <a:lnTo>
                    <a:pt x="3" y="34"/>
                  </a:lnTo>
                  <a:cubicBezTo>
                    <a:pt x="5" y="34"/>
                    <a:pt x="10" y="34"/>
                    <a:pt x="15" y="36"/>
                  </a:cubicBezTo>
                  <a:cubicBezTo>
                    <a:pt x="21" y="37"/>
                    <a:pt x="28" y="41"/>
                    <a:pt x="34" y="48"/>
                  </a:cubicBezTo>
                  <a:lnTo>
                    <a:pt x="58" y="25"/>
                  </a:lnTo>
                  <a:cubicBezTo>
                    <a:pt x="48" y="14"/>
                    <a:pt x="36" y="7"/>
                    <a:pt x="26" y="4"/>
                  </a:cubicBezTo>
                  <a:cubicBezTo>
                    <a:pt x="16" y="1"/>
                    <a:pt x="7" y="0"/>
                    <a:pt x="3" y="0"/>
                  </a:cubicBezTo>
                  <a:lnTo>
                    <a:pt x="0" y="0"/>
                  </a:lnTo>
                  <a:lnTo>
                    <a:pt x="4" y="34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38" name="Freeform 124">
              <a:extLst>
                <a:ext uri="{FF2B5EF4-FFF2-40B4-BE49-F238E27FC236}">
                  <a16:creationId xmlns:a16="http://schemas.microsoft.com/office/drawing/2014/main" id="{8AEA5668-0F00-4E64-BE91-C20587975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77163" y="3194042"/>
              <a:ext cx="1327618" cy="1348369"/>
            </a:xfrm>
            <a:custGeom>
              <a:avLst/>
              <a:gdLst>
                <a:gd name="T0" fmla="*/ 62 w 64"/>
                <a:gd name="T1" fmla="*/ 62 h 65"/>
                <a:gd name="T2" fmla="*/ 62 w 64"/>
                <a:gd name="T3" fmla="*/ 60 h 65"/>
                <a:gd name="T4" fmla="*/ 4 w 64"/>
                <a:gd name="T5" fmla="*/ 60 h 65"/>
                <a:gd name="T6" fmla="*/ 4 w 64"/>
                <a:gd name="T7" fmla="*/ 5 h 65"/>
                <a:gd name="T8" fmla="*/ 60 w 64"/>
                <a:gd name="T9" fmla="*/ 5 h 65"/>
                <a:gd name="T10" fmla="*/ 60 w 64"/>
                <a:gd name="T11" fmla="*/ 62 h 65"/>
                <a:gd name="T12" fmla="*/ 62 w 64"/>
                <a:gd name="T13" fmla="*/ 62 h 65"/>
                <a:gd name="T14" fmla="*/ 62 w 64"/>
                <a:gd name="T15" fmla="*/ 60 h 65"/>
                <a:gd name="T16" fmla="*/ 62 w 64"/>
                <a:gd name="T17" fmla="*/ 62 h 65"/>
                <a:gd name="T18" fmla="*/ 64 w 64"/>
                <a:gd name="T19" fmla="*/ 62 h 65"/>
                <a:gd name="T20" fmla="*/ 64 w 64"/>
                <a:gd name="T21" fmla="*/ 0 h 65"/>
                <a:gd name="T22" fmla="*/ 0 w 64"/>
                <a:gd name="T23" fmla="*/ 0 h 65"/>
                <a:gd name="T24" fmla="*/ 0 w 64"/>
                <a:gd name="T25" fmla="*/ 65 h 65"/>
                <a:gd name="T26" fmla="*/ 64 w 64"/>
                <a:gd name="T27" fmla="*/ 65 h 65"/>
                <a:gd name="T28" fmla="*/ 64 w 64"/>
                <a:gd name="T29" fmla="*/ 62 h 65"/>
                <a:gd name="T30" fmla="*/ 62 w 64"/>
                <a:gd name="T31" fmla="*/ 6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65">
                  <a:moveTo>
                    <a:pt x="62" y="62"/>
                  </a:moveTo>
                  <a:lnTo>
                    <a:pt x="62" y="60"/>
                  </a:lnTo>
                  <a:lnTo>
                    <a:pt x="4" y="60"/>
                  </a:lnTo>
                  <a:lnTo>
                    <a:pt x="4" y="5"/>
                  </a:lnTo>
                  <a:lnTo>
                    <a:pt x="60" y="5"/>
                  </a:lnTo>
                  <a:lnTo>
                    <a:pt x="60" y="62"/>
                  </a:lnTo>
                  <a:lnTo>
                    <a:pt x="62" y="62"/>
                  </a:lnTo>
                  <a:lnTo>
                    <a:pt x="62" y="60"/>
                  </a:lnTo>
                  <a:lnTo>
                    <a:pt x="62" y="62"/>
                  </a:lnTo>
                  <a:lnTo>
                    <a:pt x="64" y="62"/>
                  </a:lnTo>
                  <a:lnTo>
                    <a:pt x="64" y="0"/>
                  </a:lnTo>
                  <a:lnTo>
                    <a:pt x="0" y="0"/>
                  </a:lnTo>
                  <a:lnTo>
                    <a:pt x="0" y="65"/>
                  </a:lnTo>
                  <a:lnTo>
                    <a:pt x="64" y="65"/>
                  </a:lnTo>
                  <a:lnTo>
                    <a:pt x="64" y="62"/>
                  </a:lnTo>
                  <a:lnTo>
                    <a:pt x="62" y="6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39" name="Freeform 126">
              <a:extLst>
                <a:ext uri="{FF2B5EF4-FFF2-40B4-BE49-F238E27FC236}">
                  <a16:creationId xmlns:a16="http://schemas.microsoft.com/office/drawing/2014/main" id="{9FE63C98-6ED9-4109-8A5D-09C0E8EE3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8317" y="3525946"/>
              <a:ext cx="705297" cy="684560"/>
            </a:xfrm>
            <a:custGeom>
              <a:avLst/>
              <a:gdLst>
                <a:gd name="T0" fmla="*/ 32 w 34"/>
                <a:gd name="T1" fmla="*/ 31 h 33"/>
                <a:gd name="T2" fmla="*/ 32 w 34"/>
                <a:gd name="T3" fmla="*/ 29 h 33"/>
                <a:gd name="T4" fmla="*/ 4 w 34"/>
                <a:gd name="T5" fmla="*/ 29 h 33"/>
                <a:gd name="T6" fmla="*/ 4 w 34"/>
                <a:gd name="T7" fmla="*/ 4 h 33"/>
                <a:gd name="T8" fmla="*/ 30 w 34"/>
                <a:gd name="T9" fmla="*/ 4 h 33"/>
                <a:gd name="T10" fmla="*/ 30 w 34"/>
                <a:gd name="T11" fmla="*/ 31 h 33"/>
                <a:gd name="T12" fmla="*/ 32 w 34"/>
                <a:gd name="T13" fmla="*/ 31 h 33"/>
                <a:gd name="T14" fmla="*/ 32 w 34"/>
                <a:gd name="T15" fmla="*/ 29 h 33"/>
                <a:gd name="T16" fmla="*/ 32 w 34"/>
                <a:gd name="T17" fmla="*/ 31 h 33"/>
                <a:gd name="T18" fmla="*/ 34 w 34"/>
                <a:gd name="T19" fmla="*/ 31 h 33"/>
                <a:gd name="T20" fmla="*/ 34 w 34"/>
                <a:gd name="T21" fmla="*/ 0 h 33"/>
                <a:gd name="T22" fmla="*/ 0 w 34"/>
                <a:gd name="T23" fmla="*/ 0 h 33"/>
                <a:gd name="T24" fmla="*/ 0 w 34"/>
                <a:gd name="T25" fmla="*/ 33 h 33"/>
                <a:gd name="T26" fmla="*/ 34 w 34"/>
                <a:gd name="T27" fmla="*/ 33 h 33"/>
                <a:gd name="T28" fmla="*/ 34 w 34"/>
                <a:gd name="T29" fmla="*/ 31 h 33"/>
                <a:gd name="T30" fmla="*/ 32 w 34"/>
                <a:gd name="T31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4" h="33">
                  <a:moveTo>
                    <a:pt x="32" y="31"/>
                  </a:moveTo>
                  <a:lnTo>
                    <a:pt x="32" y="29"/>
                  </a:lnTo>
                  <a:lnTo>
                    <a:pt x="4" y="29"/>
                  </a:lnTo>
                  <a:lnTo>
                    <a:pt x="4" y="4"/>
                  </a:lnTo>
                  <a:lnTo>
                    <a:pt x="30" y="4"/>
                  </a:lnTo>
                  <a:lnTo>
                    <a:pt x="30" y="31"/>
                  </a:lnTo>
                  <a:lnTo>
                    <a:pt x="32" y="31"/>
                  </a:lnTo>
                  <a:lnTo>
                    <a:pt x="32" y="29"/>
                  </a:lnTo>
                  <a:lnTo>
                    <a:pt x="32" y="31"/>
                  </a:lnTo>
                  <a:lnTo>
                    <a:pt x="34" y="31"/>
                  </a:lnTo>
                  <a:lnTo>
                    <a:pt x="34" y="0"/>
                  </a:lnTo>
                  <a:lnTo>
                    <a:pt x="0" y="0"/>
                  </a:lnTo>
                  <a:lnTo>
                    <a:pt x="0" y="33"/>
                  </a:lnTo>
                  <a:lnTo>
                    <a:pt x="34" y="33"/>
                  </a:lnTo>
                  <a:lnTo>
                    <a:pt x="34" y="31"/>
                  </a:lnTo>
                  <a:lnTo>
                    <a:pt x="32" y="3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40" name="Rectangle 127">
              <a:extLst>
                <a:ext uri="{FF2B5EF4-FFF2-40B4-BE49-F238E27FC236}">
                  <a16:creationId xmlns:a16="http://schemas.microsoft.com/office/drawing/2014/main" id="{DDB409D9-F9D6-4D16-B9E6-3A7C59011C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8317" y="3422220"/>
              <a:ext cx="82976" cy="14521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41" name="Rectangle 128">
              <a:extLst>
                <a:ext uri="{FF2B5EF4-FFF2-40B4-BE49-F238E27FC236}">
                  <a16:creationId xmlns:a16="http://schemas.microsoft.com/office/drawing/2014/main" id="{23FE72D3-2CE1-4D01-AAA9-CC13758D0D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95757" y="3422220"/>
              <a:ext cx="82976" cy="14521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42" name="Rectangle 129">
              <a:extLst>
                <a:ext uri="{FF2B5EF4-FFF2-40B4-BE49-F238E27FC236}">
                  <a16:creationId xmlns:a16="http://schemas.microsoft.com/office/drawing/2014/main" id="{424C11E6-A484-4198-8687-288AA91DAB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03197" y="3422220"/>
              <a:ext cx="82976" cy="14521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43" name="Rectangle 130">
              <a:extLst>
                <a:ext uri="{FF2B5EF4-FFF2-40B4-BE49-F238E27FC236}">
                  <a16:creationId xmlns:a16="http://schemas.microsoft.com/office/drawing/2014/main" id="{6E153FDC-0333-4291-A549-1C97822129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10638" y="3422220"/>
              <a:ext cx="82976" cy="14521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44" name="Rectangle 131">
              <a:extLst>
                <a:ext uri="{FF2B5EF4-FFF2-40B4-BE49-F238E27FC236}">
                  <a16:creationId xmlns:a16="http://schemas.microsoft.com/office/drawing/2014/main" id="{9F32D8C8-B178-41DB-8F25-977EF70EB5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8317" y="4169005"/>
              <a:ext cx="82976" cy="14521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45" name="Rectangle 132">
              <a:extLst>
                <a:ext uri="{FF2B5EF4-FFF2-40B4-BE49-F238E27FC236}">
                  <a16:creationId xmlns:a16="http://schemas.microsoft.com/office/drawing/2014/main" id="{B1EE0D49-6AD5-482B-99A7-BAD711E49F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95757" y="4169005"/>
              <a:ext cx="82976" cy="14521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46" name="Rectangle 133">
              <a:extLst>
                <a:ext uri="{FF2B5EF4-FFF2-40B4-BE49-F238E27FC236}">
                  <a16:creationId xmlns:a16="http://schemas.microsoft.com/office/drawing/2014/main" id="{7B9D355D-2A8E-4040-ADF8-F21E66E31C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03197" y="4169005"/>
              <a:ext cx="82976" cy="14521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47" name="Rectangle 134">
              <a:extLst>
                <a:ext uri="{FF2B5EF4-FFF2-40B4-BE49-F238E27FC236}">
                  <a16:creationId xmlns:a16="http://schemas.microsoft.com/office/drawing/2014/main" id="{ADD59867-3214-4DBE-B0F9-44ACA99BEA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10638" y="4169005"/>
              <a:ext cx="82976" cy="14521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48" name="Rectangle 135">
              <a:extLst>
                <a:ext uri="{FF2B5EF4-FFF2-40B4-BE49-F238E27FC236}">
                  <a16:creationId xmlns:a16="http://schemas.microsoft.com/office/drawing/2014/main" id="{80CB0FE9-59DB-4CD7-9FED-561D6267BD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2126" y="3525946"/>
              <a:ext cx="145215" cy="82976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50" name="Rectangle 136">
              <a:extLst>
                <a:ext uri="{FF2B5EF4-FFF2-40B4-BE49-F238E27FC236}">
                  <a16:creationId xmlns:a16="http://schemas.microsoft.com/office/drawing/2014/main" id="{BF22A836-60E4-46FB-AC5A-390FAD3A13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2126" y="3712636"/>
              <a:ext cx="145215" cy="103727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52" name="Rectangle 137">
              <a:extLst>
                <a:ext uri="{FF2B5EF4-FFF2-40B4-BE49-F238E27FC236}">
                  <a16:creationId xmlns:a16="http://schemas.microsoft.com/office/drawing/2014/main" id="{0AF8D769-10E4-4129-97AE-467EE42752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2126" y="3920077"/>
              <a:ext cx="145215" cy="103727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53" name="Rectangle 138">
              <a:extLst>
                <a:ext uri="{FF2B5EF4-FFF2-40B4-BE49-F238E27FC236}">
                  <a16:creationId xmlns:a16="http://schemas.microsoft.com/office/drawing/2014/main" id="{8B38F7B4-2172-403B-BC61-00DDF5EE84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52126" y="4127517"/>
              <a:ext cx="145215" cy="82976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54" name="Rectangle 139">
              <a:extLst>
                <a:ext uri="{FF2B5EF4-FFF2-40B4-BE49-F238E27FC236}">
                  <a16:creationId xmlns:a16="http://schemas.microsoft.com/office/drawing/2014/main" id="{6A179D75-15B3-45AA-A1F4-B20FB6E411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4603" y="3525946"/>
              <a:ext cx="145215" cy="82976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55" name="Rectangle 140">
              <a:extLst>
                <a:ext uri="{FF2B5EF4-FFF2-40B4-BE49-F238E27FC236}">
                  <a16:creationId xmlns:a16="http://schemas.microsoft.com/office/drawing/2014/main" id="{E09DA567-5CDB-430A-A95B-41292C8B5A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4603" y="3712636"/>
              <a:ext cx="145215" cy="103727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56" name="Rectangle 141">
              <a:extLst>
                <a:ext uri="{FF2B5EF4-FFF2-40B4-BE49-F238E27FC236}">
                  <a16:creationId xmlns:a16="http://schemas.microsoft.com/office/drawing/2014/main" id="{D2242AF1-AB0C-4B7E-9525-2F1CADADD0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4603" y="3920077"/>
              <a:ext cx="145215" cy="103727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57" name="Rectangle 142">
              <a:extLst>
                <a:ext uri="{FF2B5EF4-FFF2-40B4-BE49-F238E27FC236}">
                  <a16:creationId xmlns:a16="http://schemas.microsoft.com/office/drawing/2014/main" id="{F69ACEA3-79A9-4A73-8EA9-6B23F123E2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4603" y="4127517"/>
              <a:ext cx="145215" cy="82976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58" name="Rectangle 143">
              <a:extLst>
                <a:ext uri="{FF2B5EF4-FFF2-40B4-BE49-F238E27FC236}">
                  <a16:creationId xmlns:a16="http://schemas.microsoft.com/office/drawing/2014/main" id="{27C42F86-232B-430D-A2FA-AE154690C4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99484" y="2550970"/>
              <a:ext cx="82976" cy="53934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59" name="Freeform 144">
              <a:extLst>
                <a:ext uri="{FF2B5EF4-FFF2-40B4-BE49-F238E27FC236}">
                  <a16:creationId xmlns:a16="http://schemas.microsoft.com/office/drawing/2014/main" id="{533AA54B-E4FA-45F7-9E57-71799495F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10078" y="3297755"/>
              <a:ext cx="311167" cy="912738"/>
            </a:xfrm>
            <a:custGeom>
              <a:avLst/>
              <a:gdLst>
                <a:gd name="T0" fmla="*/ 0 w 15"/>
                <a:gd name="T1" fmla="*/ 44 h 44"/>
                <a:gd name="T2" fmla="*/ 15 w 15"/>
                <a:gd name="T3" fmla="*/ 44 h 44"/>
                <a:gd name="T4" fmla="*/ 15 w 15"/>
                <a:gd name="T5" fmla="*/ 0 h 44"/>
                <a:gd name="T6" fmla="*/ 11 w 15"/>
                <a:gd name="T7" fmla="*/ 0 h 44"/>
                <a:gd name="T8" fmla="*/ 11 w 15"/>
                <a:gd name="T9" fmla="*/ 40 h 44"/>
                <a:gd name="T10" fmla="*/ 0 w 15"/>
                <a:gd name="T11" fmla="*/ 40 h 44"/>
                <a:gd name="T12" fmla="*/ 0 w 1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44">
                  <a:moveTo>
                    <a:pt x="0" y="44"/>
                  </a:moveTo>
                  <a:lnTo>
                    <a:pt x="15" y="44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11" y="40"/>
                  </a:lnTo>
                  <a:lnTo>
                    <a:pt x="0" y="40"/>
                  </a:lnTo>
                  <a:lnTo>
                    <a:pt x="0" y="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60" name="Freeform 145">
              <a:extLst>
                <a:ext uri="{FF2B5EF4-FFF2-40B4-BE49-F238E27FC236}">
                  <a16:creationId xmlns:a16="http://schemas.microsoft.com/office/drawing/2014/main" id="{EEA8BFC4-D002-42C0-9AF9-5A89F94AF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1449" y="2779161"/>
              <a:ext cx="228191" cy="829762"/>
            </a:xfrm>
            <a:custGeom>
              <a:avLst/>
              <a:gdLst>
                <a:gd name="T0" fmla="*/ 11 w 11"/>
                <a:gd name="T1" fmla="*/ 36 h 40"/>
                <a:gd name="T2" fmla="*/ 4 w 11"/>
                <a:gd name="T3" fmla="*/ 36 h 40"/>
                <a:gd name="T4" fmla="*/ 4 w 11"/>
                <a:gd name="T5" fmla="*/ 0 h 40"/>
                <a:gd name="T6" fmla="*/ 0 w 11"/>
                <a:gd name="T7" fmla="*/ 0 h 40"/>
                <a:gd name="T8" fmla="*/ 0 w 11"/>
                <a:gd name="T9" fmla="*/ 40 h 40"/>
                <a:gd name="T10" fmla="*/ 11 w 11"/>
                <a:gd name="T11" fmla="*/ 40 h 40"/>
                <a:gd name="T12" fmla="*/ 11 w 11"/>
                <a:gd name="T13" fmla="*/ 3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0">
                  <a:moveTo>
                    <a:pt x="11" y="36"/>
                  </a:moveTo>
                  <a:lnTo>
                    <a:pt x="4" y="36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0"/>
                  </a:lnTo>
                  <a:lnTo>
                    <a:pt x="11" y="40"/>
                  </a:lnTo>
                  <a:lnTo>
                    <a:pt x="11" y="3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61" name="Freeform 146">
              <a:extLst>
                <a:ext uri="{FF2B5EF4-FFF2-40B4-BE49-F238E27FC236}">
                  <a16:creationId xmlns:a16="http://schemas.microsoft.com/office/drawing/2014/main" id="{E45D5B23-FE6C-4D6C-ADE3-C2DD8D639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6234" y="2447256"/>
              <a:ext cx="373393" cy="373393"/>
            </a:xfrm>
            <a:custGeom>
              <a:avLst/>
              <a:gdLst>
                <a:gd name="T0" fmla="*/ 125 w 141"/>
                <a:gd name="T1" fmla="*/ 70 h 141"/>
                <a:gd name="T2" fmla="*/ 108 w 141"/>
                <a:gd name="T3" fmla="*/ 70 h 141"/>
                <a:gd name="T4" fmla="*/ 71 w 141"/>
                <a:gd name="T5" fmla="*/ 107 h 141"/>
                <a:gd name="T6" fmla="*/ 34 w 141"/>
                <a:gd name="T7" fmla="*/ 70 h 141"/>
                <a:gd name="T8" fmla="*/ 71 w 141"/>
                <a:gd name="T9" fmla="*/ 33 h 141"/>
                <a:gd name="T10" fmla="*/ 108 w 141"/>
                <a:gd name="T11" fmla="*/ 70 h 141"/>
                <a:gd name="T12" fmla="*/ 125 w 141"/>
                <a:gd name="T13" fmla="*/ 70 h 141"/>
                <a:gd name="T14" fmla="*/ 141 w 141"/>
                <a:gd name="T15" fmla="*/ 70 h 141"/>
                <a:gd name="T16" fmla="*/ 71 w 141"/>
                <a:gd name="T17" fmla="*/ 0 h 141"/>
                <a:gd name="T18" fmla="*/ 0 w 141"/>
                <a:gd name="T19" fmla="*/ 70 h 141"/>
                <a:gd name="T20" fmla="*/ 71 w 141"/>
                <a:gd name="T21" fmla="*/ 141 h 141"/>
                <a:gd name="T22" fmla="*/ 141 w 141"/>
                <a:gd name="T23" fmla="*/ 70 h 141"/>
                <a:gd name="T24" fmla="*/ 125 w 141"/>
                <a:gd name="T25" fmla="*/ 7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141">
                  <a:moveTo>
                    <a:pt x="125" y="70"/>
                  </a:moveTo>
                  <a:lnTo>
                    <a:pt x="108" y="70"/>
                  </a:lnTo>
                  <a:cubicBezTo>
                    <a:pt x="108" y="91"/>
                    <a:pt x="91" y="107"/>
                    <a:pt x="71" y="107"/>
                  </a:cubicBezTo>
                  <a:cubicBezTo>
                    <a:pt x="50" y="107"/>
                    <a:pt x="34" y="91"/>
                    <a:pt x="34" y="70"/>
                  </a:cubicBezTo>
                  <a:cubicBezTo>
                    <a:pt x="34" y="50"/>
                    <a:pt x="50" y="33"/>
                    <a:pt x="71" y="33"/>
                  </a:cubicBezTo>
                  <a:cubicBezTo>
                    <a:pt x="91" y="33"/>
                    <a:pt x="108" y="50"/>
                    <a:pt x="108" y="70"/>
                  </a:cubicBezTo>
                  <a:lnTo>
                    <a:pt x="125" y="70"/>
                  </a:lnTo>
                  <a:lnTo>
                    <a:pt x="141" y="70"/>
                  </a:lnTo>
                  <a:cubicBezTo>
                    <a:pt x="141" y="31"/>
                    <a:pt x="110" y="0"/>
                    <a:pt x="71" y="0"/>
                  </a:cubicBezTo>
                  <a:cubicBezTo>
                    <a:pt x="32" y="0"/>
                    <a:pt x="0" y="31"/>
                    <a:pt x="0" y="70"/>
                  </a:cubicBezTo>
                  <a:cubicBezTo>
                    <a:pt x="0" y="109"/>
                    <a:pt x="32" y="141"/>
                    <a:pt x="71" y="141"/>
                  </a:cubicBezTo>
                  <a:cubicBezTo>
                    <a:pt x="110" y="141"/>
                    <a:pt x="141" y="109"/>
                    <a:pt x="141" y="70"/>
                  </a:cubicBezTo>
                  <a:lnTo>
                    <a:pt x="125" y="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62" name="Freeform 147">
              <a:extLst>
                <a:ext uri="{FF2B5EF4-FFF2-40B4-BE49-F238E27FC236}">
                  <a16:creationId xmlns:a16="http://schemas.microsoft.com/office/drawing/2014/main" id="{D10986E2-E03F-4AB4-B0A9-88139A033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1449" y="3816363"/>
              <a:ext cx="228191" cy="850512"/>
            </a:xfrm>
            <a:custGeom>
              <a:avLst/>
              <a:gdLst>
                <a:gd name="T0" fmla="*/ 11 w 11"/>
                <a:gd name="T1" fmla="*/ 0 h 41"/>
                <a:gd name="T2" fmla="*/ 0 w 11"/>
                <a:gd name="T3" fmla="*/ 0 h 41"/>
                <a:gd name="T4" fmla="*/ 0 w 11"/>
                <a:gd name="T5" fmla="*/ 41 h 41"/>
                <a:gd name="T6" fmla="*/ 4 w 11"/>
                <a:gd name="T7" fmla="*/ 41 h 41"/>
                <a:gd name="T8" fmla="*/ 4 w 11"/>
                <a:gd name="T9" fmla="*/ 5 h 41"/>
                <a:gd name="T10" fmla="*/ 11 w 11"/>
                <a:gd name="T11" fmla="*/ 5 h 41"/>
                <a:gd name="T12" fmla="*/ 11 w 11"/>
                <a:gd name="T13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1">
                  <a:moveTo>
                    <a:pt x="11" y="0"/>
                  </a:moveTo>
                  <a:lnTo>
                    <a:pt x="0" y="0"/>
                  </a:lnTo>
                  <a:lnTo>
                    <a:pt x="0" y="41"/>
                  </a:lnTo>
                  <a:lnTo>
                    <a:pt x="4" y="41"/>
                  </a:lnTo>
                  <a:lnTo>
                    <a:pt x="4" y="5"/>
                  </a:lnTo>
                  <a:lnTo>
                    <a:pt x="11" y="5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63" name="Freeform 148">
              <a:extLst>
                <a:ext uri="{FF2B5EF4-FFF2-40B4-BE49-F238E27FC236}">
                  <a16:creationId xmlns:a16="http://schemas.microsoft.com/office/drawing/2014/main" id="{BD31CD9E-B942-47FE-943B-E38CD5064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6234" y="4604637"/>
              <a:ext cx="373393" cy="394143"/>
            </a:xfrm>
            <a:custGeom>
              <a:avLst/>
              <a:gdLst>
                <a:gd name="T0" fmla="*/ 125 w 141"/>
                <a:gd name="T1" fmla="*/ 70 h 141"/>
                <a:gd name="T2" fmla="*/ 141 w 141"/>
                <a:gd name="T3" fmla="*/ 70 h 141"/>
                <a:gd name="T4" fmla="*/ 71 w 141"/>
                <a:gd name="T5" fmla="*/ 0 h 141"/>
                <a:gd name="T6" fmla="*/ 0 w 141"/>
                <a:gd name="T7" fmla="*/ 70 h 141"/>
                <a:gd name="T8" fmla="*/ 71 w 141"/>
                <a:gd name="T9" fmla="*/ 141 h 141"/>
                <a:gd name="T10" fmla="*/ 141 w 141"/>
                <a:gd name="T11" fmla="*/ 70 h 141"/>
                <a:gd name="T12" fmla="*/ 125 w 141"/>
                <a:gd name="T13" fmla="*/ 70 h 141"/>
                <a:gd name="T14" fmla="*/ 108 w 141"/>
                <a:gd name="T15" fmla="*/ 70 h 141"/>
                <a:gd name="T16" fmla="*/ 71 w 141"/>
                <a:gd name="T17" fmla="*/ 108 h 141"/>
                <a:gd name="T18" fmla="*/ 34 w 141"/>
                <a:gd name="T19" fmla="*/ 70 h 141"/>
                <a:gd name="T20" fmla="*/ 71 w 141"/>
                <a:gd name="T21" fmla="*/ 33 h 141"/>
                <a:gd name="T22" fmla="*/ 108 w 141"/>
                <a:gd name="T23" fmla="*/ 70 h 141"/>
                <a:gd name="T24" fmla="*/ 125 w 141"/>
                <a:gd name="T25" fmla="*/ 7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141">
                  <a:moveTo>
                    <a:pt x="125" y="70"/>
                  </a:moveTo>
                  <a:lnTo>
                    <a:pt x="141" y="70"/>
                  </a:lnTo>
                  <a:cubicBezTo>
                    <a:pt x="141" y="31"/>
                    <a:pt x="110" y="0"/>
                    <a:pt x="71" y="0"/>
                  </a:cubicBezTo>
                  <a:cubicBezTo>
                    <a:pt x="32" y="0"/>
                    <a:pt x="0" y="31"/>
                    <a:pt x="0" y="70"/>
                  </a:cubicBezTo>
                  <a:cubicBezTo>
                    <a:pt x="0" y="110"/>
                    <a:pt x="32" y="141"/>
                    <a:pt x="71" y="141"/>
                  </a:cubicBezTo>
                  <a:cubicBezTo>
                    <a:pt x="110" y="141"/>
                    <a:pt x="141" y="110"/>
                    <a:pt x="141" y="70"/>
                  </a:cubicBezTo>
                  <a:lnTo>
                    <a:pt x="125" y="70"/>
                  </a:lnTo>
                  <a:lnTo>
                    <a:pt x="108" y="70"/>
                  </a:lnTo>
                  <a:cubicBezTo>
                    <a:pt x="108" y="91"/>
                    <a:pt x="91" y="108"/>
                    <a:pt x="71" y="108"/>
                  </a:cubicBezTo>
                  <a:cubicBezTo>
                    <a:pt x="50" y="108"/>
                    <a:pt x="34" y="91"/>
                    <a:pt x="34" y="70"/>
                  </a:cubicBezTo>
                  <a:cubicBezTo>
                    <a:pt x="34" y="50"/>
                    <a:pt x="50" y="33"/>
                    <a:pt x="71" y="33"/>
                  </a:cubicBezTo>
                  <a:cubicBezTo>
                    <a:pt x="91" y="33"/>
                    <a:pt x="108" y="50"/>
                    <a:pt x="108" y="70"/>
                  </a:cubicBezTo>
                  <a:lnTo>
                    <a:pt x="125" y="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64" name="Freeform 149">
              <a:extLst>
                <a:ext uri="{FF2B5EF4-FFF2-40B4-BE49-F238E27FC236}">
                  <a16:creationId xmlns:a16="http://schemas.microsoft.com/office/drawing/2014/main" id="{2EAFC057-3C97-42FD-880F-B4B23CA2AB3F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3054" y="2965851"/>
              <a:ext cx="373393" cy="373393"/>
            </a:xfrm>
            <a:custGeom>
              <a:avLst/>
              <a:gdLst>
                <a:gd name="T0" fmla="*/ 124 w 141"/>
                <a:gd name="T1" fmla="*/ 71 h 141"/>
                <a:gd name="T2" fmla="*/ 107 w 141"/>
                <a:gd name="T3" fmla="*/ 71 h 141"/>
                <a:gd name="T4" fmla="*/ 70 w 141"/>
                <a:gd name="T5" fmla="*/ 108 h 141"/>
                <a:gd name="T6" fmla="*/ 33 w 141"/>
                <a:gd name="T7" fmla="*/ 71 h 141"/>
                <a:gd name="T8" fmla="*/ 70 w 141"/>
                <a:gd name="T9" fmla="*/ 33 h 141"/>
                <a:gd name="T10" fmla="*/ 107 w 141"/>
                <a:gd name="T11" fmla="*/ 71 h 141"/>
                <a:gd name="T12" fmla="*/ 124 w 141"/>
                <a:gd name="T13" fmla="*/ 71 h 141"/>
                <a:gd name="T14" fmla="*/ 141 w 141"/>
                <a:gd name="T15" fmla="*/ 71 h 141"/>
                <a:gd name="T16" fmla="*/ 70 w 141"/>
                <a:gd name="T17" fmla="*/ 0 h 141"/>
                <a:gd name="T18" fmla="*/ 0 w 141"/>
                <a:gd name="T19" fmla="*/ 71 h 141"/>
                <a:gd name="T20" fmla="*/ 70 w 141"/>
                <a:gd name="T21" fmla="*/ 141 h 141"/>
                <a:gd name="T22" fmla="*/ 141 w 141"/>
                <a:gd name="T23" fmla="*/ 71 h 141"/>
                <a:gd name="T24" fmla="*/ 124 w 141"/>
                <a:gd name="T25" fmla="*/ 7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141">
                  <a:moveTo>
                    <a:pt x="124" y="71"/>
                  </a:moveTo>
                  <a:lnTo>
                    <a:pt x="107" y="71"/>
                  </a:lnTo>
                  <a:cubicBezTo>
                    <a:pt x="107" y="91"/>
                    <a:pt x="91" y="108"/>
                    <a:pt x="70" y="108"/>
                  </a:cubicBezTo>
                  <a:cubicBezTo>
                    <a:pt x="50" y="108"/>
                    <a:pt x="33" y="91"/>
                    <a:pt x="33" y="71"/>
                  </a:cubicBezTo>
                  <a:cubicBezTo>
                    <a:pt x="33" y="50"/>
                    <a:pt x="50" y="33"/>
                    <a:pt x="70" y="33"/>
                  </a:cubicBezTo>
                  <a:cubicBezTo>
                    <a:pt x="91" y="33"/>
                    <a:pt x="107" y="50"/>
                    <a:pt x="107" y="71"/>
                  </a:cubicBezTo>
                  <a:lnTo>
                    <a:pt x="124" y="71"/>
                  </a:lnTo>
                  <a:lnTo>
                    <a:pt x="141" y="71"/>
                  </a:lnTo>
                  <a:cubicBezTo>
                    <a:pt x="141" y="32"/>
                    <a:pt x="109" y="0"/>
                    <a:pt x="70" y="0"/>
                  </a:cubicBezTo>
                  <a:cubicBezTo>
                    <a:pt x="31" y="0"/>
                    <a:pt x="0" y="32"/>
                    <a:pt x="0" y="71"/>
                  </a:cubicBezTo>
                  <a:cubicBezTo>
                    <a:pt x="0" y="110"/>
                    <a:pt x="31" y="141"/>
                    <a:pt x="70" y="141"/>
                  </a:cubicBezTo>
                  <a:cubicBezTo>
                    <a:pt x="109" y="141"/>
                    <a:pt x="141" y="110"/>
                    <a:pt x="141" y="71"/>
                  </a:cubicBezTo>
                  <a:lnTo>
                    <a:pt x="124" y="7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65" name="Freeform 150">
              <a:extLst>
                <a:ext uri="{FF2B5EF4-FFF2-40B4-BE49-F238E27FC236}">
                  <a16:creationId xmlns:a16="http://schemas.microsoft.com/office/drawing/2014/main" id="{FA03EAC8-2931-41B8-A246-AC6C711E4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2282" y="4978029"/>
              <a:ext cx="1016464" cy="456369"/>
            </a:xfrm>
            <a:custGeom>
              <a:avLst/>
              <a:gdLst>
                <a:gd name="T0" fmla="*/ 45 w 49"/>
                <a:gd name="T1" fmla="*/ 0 h 22"/>
                <a:gd name="T2" fmla="*/ 45 w 49"/>
                <a:gd name="T3" fmla="*/ 18 h 22"/>
                <a:gd name="T4" fmla="*/ 0 w 49"/>
                <a:gd name="T5" fmla="*/ 18 h 22"/>
                <a:gd name="T6" fmla="*/ 0 w 49"/>
                <a:gd name="T7" fmla="*/ 22 h 22"/>
                <a:gd name="T8" fmla="*/ 49 w 49"/>
                <a:gd name="T9" fmla="*/ 22 h 22"/>
                <a:gd name="T10" fmla="*/ 49 w 49"/>
                <a:gd name="T11" fmla="*/ 0 h 22"/>
                <a:gd name="T12" fmla="*/ 45 w 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22">
                  <a:moveTo>
                    <a:pt x="45" y="0"/>
                  </a:moveTo>
                  <a:lnTo>
                    <a:pt x="45" y="18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49" y="22"/>
                  </a:lnTo>
                  <a:lnTo>
                    <a:pt x="49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66" name="Freeform 151">
              <a:extLst>
                <a:ext uri="{FF2B5EF4-FFF2-40B4-BE49-F238E27FC236}">
                  <a16:creationId xmlns:a16="http://schemas.microsoft.com/office/drawing/2014/main" id="{1868F1D9-B428-4AAD-A0FB-8F08704F5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0377" y="5206207"/>
              <a:ext cx="373393" cy="373393"/>
            </a:xfrm>
            <a:custGeom>
              <a:avLst/>
              <a:gdLst>
                <a:gd name="T0" fmla="*/ 124 w 141"/>
                <a:gd name="T1" fmla="*/ 70 h 141"/>
                <a:gd name="T2" fmla="*/ 108 w 141"/>
                <a:gd name="T3" fmla="*/ 70 h 141"/>
                <a:gd name="T4" fmla="*/ 70 w 141"/>
                <a:gd name="T5" fmla="*/ 108 h 141"/>
                <a:gd name="T6" fmla="*/ 33 w 141"/>
                <a:gd name="T7" fmla="*/ 70 h 141"/>
                <a:gd name="T8" fmla="*/ 70 w 141"/>
                <a:gd name="T9" fmla="*/ 33 h 141"/>
                <a:gd name="T10" fmla="*/ 108 w 141"/>
                <a:gd name="T11" fmla="*/ 70 h 141"/>
                <a:gd name="T12" fmla="*/ 124 w 141"/>
                <a:gd name="T13" fmla="*/ 70 h 141"/>
                <a:gd name="T14" fmla="*/ 141 w 141"/>
                <a:gd name="T15" fmla="*/ 70 h 141"/>
                <a:gd name="T16" fmla="*/ 70 w 141"/>
                <a:gd name="T17" fmla="*/ 0 h 141"/>
                <a:gd name="T18" fmla="*/ 0 w 141"/>
                <a:gd name="T19" fmla="*/ 70 h 141"/>
                <a:gd name="T20" fmla="*/ 70 w 141"/>
                <a:gd name="T21" fmla="*/ 141 h 141"/>
                <a:gd name="T22" fmla="*/ 141 w 141"/>
                <a:gd name="T23" fmla="*/ 70 h 141"/>
                <a:gd name="T24" fmla="*/ 124 w 141"/>
                <a:gd name="T25" fmla="*/ 7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141">
                  <a:moveTo>
                    <a:pt x="124" y="70"/>
                  </a:moveTo>
                  <a:lnTo>
                    <a:pt x="108" y="70"/>
                  </a:lnTo>
                  <a:cubicBezTo>
                    <a:pt x="107" y="91"/>
                    <a:pt x="91" y="108"/>
                    <a:pt x="70" y="108"/>
                  </a:cubicBezTo>
                  <a:cubicBezTo>
                    <a:pt x="50" y="108"/>
                    <a:pt x="33" y="91"/>
                    <a:pt x="33" y="70"/>
                  </a:cubicBezTo>
                  <a:cubicBezTo>
                    <a:pt x="33" y="50"/>
                    <a:pt x="50" y="33"/>
                    <a:pt x="70" y="33"/>
                  </a:cubicBezTo>
                  <a:cubicBezTo>
                    <a:pt x="91" y="33"/>
                    <a:pt x="107" y="50"/>
                    <a:pt x="108" y="70"/>
                  </a:cubicBezTo>
                  <a:lnTo>
                    <a:pt x="124" y="70"/>
                  </a:lnTo>
                  <a:lnTo>
                    <a:pt x="141" y="70"/>
                  </a:lnTo>
                  <a:cubicBezTo>
                    <a:pt x="141" y="31"/>
                    <a:pt x="109" y="0"/>
                    <a:pt x="70" y="0"/>
                  </a:cubicBezTo>
                  <a:cubicBezTo>
                    <a:pt x="31" y="0"/>
                    <a:pt x="0" y="31"/>
                    <a:pt x="0" y="70"/>
                  </a:cubicBezTo>
                  <a:cubicBezTo>
                    <a:pt x="0" y="109"/>
                    <a:pt x="31" y="141"/>
                    <a:pt x="70" y="141"/>
                  </a:cubicBezTo>
                  <a:cubicBezTo>
                    <a:pt x="109" y="141"/>
                    <a:pt x="141" y="109"/>
                    <a:pt x="141" y="70"/>
                  </a:cubicBezTo>
                  <a:lnTo>
                    <a:pt x="124" y="70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67" name="Freeform 152">
              <a:extLst>
                <a:ext uri="{FF2B5EF4-FFF2-40B4-BE49-F238E27FC236}">
                  <a16:creationId xmlns:a16="http://schemas.microsoft.com/office/drawing/2014/main" id="{5194DCAF-7670-4368-9BDC-A56687DE7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3197" y="4978029"/>
              <a:ext cx="1016464" cy="456369"/>
            </a:xfrm>
            <a:custGeom>
              <a:avLst/>
              <a:gdLst>
                <a:gd name="T0" fmla="*/ 0 w 49"/>
                <a:gd name="T1" fmla="*/ 0 h 22"/>
                <a:gd name="T2" fmla="*/ 0 w 49"/>
                <a:gd name="T3" fmla="*/ 22 h 22"/>
                <a:gd name="T4" fmla="*/ 49 w 49"/>
                <a:gd name="T5" fmla="*/ 22 h 22"/>
                <a:gd name="T6" fmla="*/ 49 w 49"/>
                <a:gd name="T7" fmla="*/ 18 h 22"/>
                <a:gd name="T8" fmla="*/ 4 w 49"/>
                <a:gd name="T9" fmla="*/ 18 h 22"/>
                <a:gd name="T10" fmla="*/ 4 w 49"/>
                <a:gd name="T11" fmla="*/ 0 h 22"/>
                <a:gd name="T12" fmla="*/ 0 w 49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22">
                  <a:moveTo>
                    <a:pt x="0" y="0"/>
                  </a:moveTo>
                  <a:lnTo>
                    <a:pt x="0" y="22"/>
                  </a:lnTo>
                  <a:lnTo>
                    <a:pt x="49" y="22"/>
                  </a:lnTo>
                  <a:lnTo>
                    <a:pt x="49" y="18"/>
                  </a:lnTo>
                  <a:lnTo>
                    <a:pt x="4" y="18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68" name="Freeform 153">
              <a:extLst>
                <a:ext uri="{FF2B5EF4-FFF2-40B4-BE49-F238E27FC236}">
                  <a16:creationId xmlns:a16="http://schemas.microsoft.com/office/drawing/2014/main" id="{C8B8ADBE-8A5D-4AE6-9E1D-BD5769D0DD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8174" y="5206207"/>
              <a:ext cx="373393" cy="373393"/>
            </a:xfrm>
            <a:custGeom>
              <a:avLst/>
              <a:gdLst>
                <a:gd name="T0" fmla="*/ 16 w 141"/>
                <a:gd name="T1" fmla="*/ 70 h 141"/>
                <a:gd name="T2" fmla="*/ 0 w 141"/>
                <a:gd name="T3" fmla="*/ 70 h 141"/>
                <a:gd name="T4" fmla="*/ 70 w 141"/>
                <a:gd name="T5" fmla="*/ 141 h 141"/>
                <a:gd name="T6" fmla="*/ 141 w 141"/>
                <a:gd name="T7" fmla="*/ 70 h 141"/>
                <a:gd name="T8" fmla="*/ 70 w 141"/>
                <a:gd name="T9" fmla="*/ 0 h 141"/>
                <a:gd name="T10" fmla="*/ 0 w 141"/>
                <a:gd name="T11" fmla="*/ 70 h 141"/>
                <a:gd name="T12" fmla="*/ 16 w 141"/>
                <a:gd name="T13" fmla="*/ 70 h 141"/>
                <a:gd name="T14" fmla="*/ 33 w 141"/>
                <a:gd name="T15" fmla="*/ 70 h 141"/>
                <a:gd name="T16" fmla="*/ 70 w 141"/>
                <a:gd name="T17" fmla="*/ 33 h 141"/>
                <a:gd name="T18" fmla="*/ 107 w 141"/>
                <a:gd name="T19" fmla="*/ 70 h 141"/>
                <a:gd name="T20" fmla="*/ 70 w 141"/>
                <a:gd name="T21" fmla="*/ 108 h 141"/>
                <a:gd name="T22" fmla="*/ 33 w 141"/>
                <a:gd name="T23" fmla="*/ 70 h 141"/>
                <a:gd name="T24" fmla="*/ 16 w 141"/>
                <a:gd name="T25" fmla="*/ 7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141">
                  <a:moveTo>
                    <a:pt x="16" y="70"/>
                  </a:moveTo>
                  <a:lnTo>
                    <a:pt x="0" y="70"/>
                  </a:lnTo>
                  <a:cubicBezTo>
                    <a:pt x="0" y="109"/>
                    <a:pt x="31" y="141"/>
                    <a:pt x="70" y="141"/>
                  </a:cubicBezTo>
                  <a:cubicBezTo>
                    <a:pt x="109" y="141"/>
                    <a:pt x="141" y="109"/>
                    <a:pt x="141" y="70"/>
                  </a:cubicBezTo>
                  <a:cubicBezTo>
                    <a:pt x="141" y="31"/>
                    <a:pt x="109" y="0"/>
                    <a:pt x="70" y="0"/>
                  </a:cubicBezTo>
                  <a:cubicBezTo>
                    <a:pt x="31" y="0"/>
                    <a:pt x="0" y="31"/>
                    <a:pt x="0" y="70"/>
                  </a:cubicBezTo>
                  <a:lnTo>
                    <a:pt x="16" y="70"/>
                  </a:lnTo>
                  <a:lnTo>
                    <a:pt x="33" y="70"/>
                  </a:lnTo>
                  <a:cubicBezTo>
                    <a:pt x="33" y="50"/>
                    <a:pt x="50" y="33"/>
                    <a:pt x="70" y="33"/>
                  </a:cubicBezTo>
                  <a:cubicBezTo>
                    <a:pt x="91" y="33"/>
                    <a:pt x="107" y="50"/>
                    <a:pt x="107" y="70"/>
                  </a:cubicBezTo>
                  <a:cubicBezTo>
                    <a:pt x="107" y="91"/>
                    <a:pt x="91" y="108"/>
                    <a:pt x="70" y="108"/>
                  </a:cubicBezTo>
                  <a:cubicBezTo>
                    <a:pt x="50" y="108"/>
                    <a:pt x="33" y="91"/>
                    <a:pt x="33" y="70"/>
                  </a:cubicBezTo>
                  <a:lnTo>
                    <a:pt x="16" y="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  <p:sp>
          <p:nvSpPr>
            <p:cNvPr id="69" name="Freeform 154">
              <a:extLst>
                <a:ext uri="{FF2B5EF4-FFF2-40B4-BE49-F238E27FC236}">
                  <a16:creationId xmlns:a16="http://schemas.microsoft.com/office/drawing/2014/main" id="{EF6DAA68-41C2-44AB-AEAA-506941715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4269" y="2219065"/>
              <a:ext cx="373393" cy="394143"/>
            </a:xfrm>
            <a:custGeom>
              <a:avLst/>
              <a:gdLst>
                <a:gd name="T0" fmla="*/ 124 w 141"/>
                <a:gd name="T1" fmla="*/ 70 h 141"/>
                <a:gd name="T2" fmla="*/ 108 w 141"/>
                <a:gd name="T3" fmla="*/ 70 h 141"/>
                <a:gd name="T4" fmla="*/ 70 w 141"/>
                <a:gd name="T5" fmla="*/ 108 h 141"/>
                <a:gd name="T6" fmla="*/ 33 w 141"/>
                <a:gd name="T7" fmla="*/ 70 h 141"/>
                <a:gd name="T8" fmla="*/ 70 w 141"/>
                <a:gd name="T9" fmla="*/ 33 h 141"/>
                <a:gd name="T10" fmla="*/ 108 w 141"/>
                <a:gd name="T11" fmla="*/ 70 h 141"/>
                <a:gd name="T12" fmla="*/ 124 w 141"/>
                <a:gd name="T13" fmla="*/ 70 h 141"/>
                <a:gd name="T14" fmla="*/ 141 w 141"/>
                <a:gd name="T15" fmla="*/ 70 h 141"/>
                <a:gd name="T16" fmla="*/ 70 w 141"/>
                <a:gd name="T17" fmla="*/ 0 h 141"/>
                <a:gd name="T18" fmla="*/ 0 w 141"/>
                <a:gd name="T19" fmla="*/ 70 h 141"/>
                <a:gd name="T20" fmla="*/ 70 w 141"/>
                <a:gd name="T21" fmla="*/ 141 h 141"/>
                <a:gd name="T22" fmla="*/ 141 w 141"/>
                <a:gd name="T23" fmla="*/ 70 h 141"/>
                <a:gd name="T24" fmla="*/ 124 w 141"/>
                <a:gd name="T25" fmla="*/ 7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1" h="141">
                  <a:moveTo>
                    <a:pt x="124" y="70"/>
                  </a:moveTo>
                  <a:lnTo>
                    <a:pt x="108" y="70"/>
                  </a:lnTo>
                  <a:cubicBezTo>
                    <a:pt x="108" y="91"/>
                    <a:pt x="91" y="108"/>
                    <a:pt x="70" y="108"/>
                  </a:cubicBezTo>
                  <a:cubicBezTo>
                    <a:pt x="50" y="108"/>
                    <a:pt x="33" y="91"/>
                    <a:pt x="33" y="70"/>
                  </a:cubicBezTo>
                  <a:cubicBezTo>
                    <a:pt x="33" y="50"/>
                    <a:pt x="50" y="33"/>
                    <a:pt x="70" y="33"/>
                  </a:cubicBezTo>
                  <a:cubicBezTo>
                    <a:pt x="91" y="33"/>
                    <a:pt x="108" y="50"/>
                    <a:pt x="108" y="70"/>
                  </a:cubicBezTo>
                  <a:lnTo>
                    <a:pt x="124" y="70"/>
                  </a:lnTo>
                  <a:lnTo>
                    <a:pt x="141" y="70"/>
                  </a:lnTo>
                  <a:cubicBezTo>
                    <a:pt x="141" y="32"/>
                    <a:pt x="109" y="0"/>
                    <a:pt x="70" y="0"/>
                  </a:cubicBezTo>
                  <a:cubicBezTo>
                    <a:pt x="31" y="0"/>
                    <a:pt x="0" y="32"/>
                    <a:pt x="0" y="70"/>
                  </a:cubicBezTo>
                  <a:cubicBezTo>
                    <a:pt x="0" y="109"/>
                    <a:pt x="31" y="141"/>
                    <a:pt x="70" y="141"/>
                  </a:cubicBezTo>
                  <a:cubicBezTo>
                    <a:pt x="109" y="141"/>
                    <a:pt x="141" y="109"/>
                    <a:pt x="141" y="70"/>
                  </a:cubicBezTo>
                  <a:lnTo>
                    <a:pt x="124" y="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Regular" panose="00000500000000000000" pitchFamily="2" charset="-52"/>
                <a:ea typeface="+mn-ea"/>
                <a:cs typeface="+mn-cs"/>
              </a:endParaRPr>
            </a:p>
          </p:txBody>
        </p:sp>
      </p:grpSp>
      <p:grpSp>
        <p:nvGrpSpPr>
          <p:cNvPr id="71" name="Рисунок 26">
            <a:extLst>
              <a:ext uri="{FF2B5EF4-FFF2-40B4-BE49-F238E27FC236}">
                <a16:creationId xmlns:a16="http://schemas.microsoft.com/office/drawing/2014/main" id="{D1FD7601-0BED-47E3-A6C5-BD638BB4F2ED}"/>
              </a:ext>
            </a:extLst>
          </p:cNvPr>
          <p:cNvGrpSpPr/>
          <p:nvPr/>
        </p:nvGrpSpPr>
        <p:grpSpPr>
          <a:xfrm>
            <a:off x="726512" y="1900364"/>
            <a:ext cx="403609" cy="394689"/>
            <a:chOff x="5312705" y="4440613"/>
            <a:chExt cx="405621" cy="396657"/>
          </a:xfrm>
          <a:solidFill>
            <a:srgbClr val="ED1B2F"/>
          </a:solidFill>
        </p:grpSpPr>
        <p:sp>
          <p:nvSpPr>
            <p:cNvPr id="72" name="Полилиния: фигура 71">
              <a:extLst>
                <a:ext uri="{FF2B5EF4-FFF2-40B4-BE49-F238E27FC236}">
                  <a16:creationId xmlns:a16="http://schemas.microsoft.com/office/drawing/2014/main" id="{EC6DAFB2-9178-47E6-8338-863340D24F6A}"/>
                </a:ext>
              </a:extLst>
            </p:cNvPr>
            <p:cNvSpPr/>
            <p:nvPr/>
          </p:nvSpPr>
          <p:spPr>
            <a:xfrm>
              <a:off x="5354537" y="4528759"/>
              <a:ext cx="322704" cy="17461"/>
            </a:xfrm>
            <a:custGeom>
              <a:avLst/>
              <a:gdLst>
                <a:gd name="connsiteX0" fmla="*/ 0 w 322704"/>
                <a:gd name="connsiteY0" fmla="*/ 7470 h 17461"/>
                <a:gd name="connsiteX1" fmla="*/ 7470 w 322704"/>
                <a:gd name="connsiteY1" fmla="*/ 0 h 17461"/>
                <a:gd name="connsiteX2" fmla="*/ 315234 w 322704"/>
                <a:gd name="connsiteY2" fmla="*/ 0 h 17461"/>
                <a:gd name="connsiteX3" fmla="*/ 322704 w 322704"/>
                <a:gd name="connsiteY3" fmla="*/ 7470 h 17461"/>
                <a:gd name="connsiteX4" fmla="*/ 322704 w 322704"/>
                <a:gd name="connsiteY4" fmla="*/ 9991 h 17461"/>
                <a:gd name="connsiteX5" fmla="*/ 315234 w 322704"/>
                <a:gd name="connsiteY5" fmla="*/ 17461 h 17461"/>
                <a:gd name="connsiteX6" fmla="*/ 7470 w 322704"/>
                <a:gd name="connsiteY6" fmla="*/ 17461 h 17461"/>
                <a:gd name="connsiteX7" fmla="*/ 0 w 322704"/>
                <a:gd name="connsiteY7" fmla="*/ 9991 h 17461"/>
                <a:gd name="connsiteX8" fmla="*/ 0 w 322704"/>
                <a:gd name="connsiteY8" fmla="*/ 7470 h 1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704" h="17461">
                  <a:moveTo>
                    <a:pt x="0" y="7470"/>
                  </a:moveTo>
                  <a:cubicBezTo>
                    <a:pt x="0" y="3344"/>
                    <a:pt x="3344" y="0"/>
                    <a:pt x="7470" y="0"/>
                  </a:cubicBezTo>
                  <a:lnTo>
                    <a:pt x="315234" y="0"/>
                  </a:lnTo>
                  <a:cubicBezTo>
                    <a:pt x="319360" y="0"/>
                    <a:pt x="322704" y="3344"/>
                    <a:pt x="322704" y="7470"/>
                  </a:cubicBezTo>
                  <a:lnTo>
                    <a:pt x="322704" y="9991"/>
                  </a:lnTo>
                  <a:cubicBezTo>
                    <a:pt x="322704" y="14117"/>
                    <a:pt x="319360" y="17461"/>
                    <a:pt x="315234" y="17461"/>
                  </a:cubicBezTo>
                  <a:lnTo>
                    <a:pt x="7470" y="17461"/>
                  </a:lnTo>
                  <a:cubicBezTo>
                    <a:pt x="3344" y="17461"/>
                    <a:pt x="0" y="14117"/>
                    <a:pt x="0" y="9991"/>
                  </a:cubicBezTo>
                  <a:lnTo>
                    <a:pt x="0" y="7470"/>
                  </a:lnTo>
                  <a:close/>
                </a:path>
              </a:pathLst>
            </a:custGeom>
            <a:grpFill/>
            <a:ln w="7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: фигура 72">
              <a:extLst>
                <a:ext uri="{FF2B5EF4-FFF2-40B4-BE49-F238E27FC236}">
                  <a16:creationId xmlns:a16="http://schemas.microsoft.com/office/drawing/2014/main" id="{DEDE3D11-17FC-4B75-B80D-BCD42D2F55C6}"/>
                </a:ext>
              </a:extLst>
            </p:cNvPr>
            <p:cNvSpPr/>
            <p:nvPr/>
          </p:nvSpPr>
          <p:spPr>
            <a:xfrm>
              <a:off x="5354537" y="4564772"/>
              <a:ext cx="322704" cy="17461"/>
            </a:xfrm>
            <a:custGeom>
              <a:avLst/>
              <a:gdLst>
                <a:gd name="connsiteX0" fmla="*/ 0 w 322704"/>
                <a:gd name="connsiteY0" fmla="*/ 7470 h 17461"/>
                <a:gd name="connsiteX1" fmla="*/ 7470 w 322704"/>
                <a:gd name="connsiteY1" fmla="*/ 0 h 17461"/>
                <a:gd name="connsiteX2" fmla="*/ 315234 w 322704"/>
                <a:gd name="connsiteY2" fmla="*/ 0 h 17461"/>
                <a:gd name="connsiteX3" fmla="*/ 322704 w 322704"/>
                <a:gd name="connsiteY3" fmla="*/ 7470 h 17461"/>
                <a:gd name="connsiteX4" fmla="*/ 322704 w 322704"/>
                <a:gd name="connsiteY4" fmla="*/ 9991 h 17461"/>
                <a:gd name="connsiteX5" fmla="*/ 315234 w 322704"/>
                <a:gd name="connsiteY5" fmla="*/ 17461 h 17461"/>
                <a:gd name="connsiteX6" fmla="*/ 7470 w 322704"/>
                <a:gd name="connsiteY6" fmla="*/ 17461 h 17461"/>
                <a:gd name="connsiteX7" fmla="*/ 0 w 322704"/>
                <a:gd name="connsiteY7" fmla="*/ 9991 h 17461"/>
                <a:gd name="connsiteX8" fmla="*/ 0 w 322704"/>
                <a:gd name="connsiteY8" fmla="*/ 7470 h 1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704" h="17461">
                  <a:moveTo>
                    <a:pt x="0" y="7470"/>
                  </a:moveTo>
                  <a:cubicBezTo>
                    <a:pt x="0" y="3344"/>
                    <a:pt x="3344" y="0"/>
                    <a:pt x="7470" y="0"/>
                  </a:cubicBezTo>
                  <a:lnTo>
                    <a:pt x="315234" y="0"/>
                  </a:lnTo>
                  <a:cubicBezTo>
                    <a:pt x="319360" y="0"/>
                    <a:pt x="322704" y="3344"/>
                    <a:pt x="322704" y="7470"/>
                  </a:cubicBezTo>
                  <a:lnTo>
                    <a:pt x="322704" y="9991"/>
                  </a:lnTo>
                  <a:cubicBezTo>
                    <a:pt x="322704" y="14117"/>
                    <a:pt x="319360" y="17461"/>
                    <a:pt x="315234" y="17461"/>
                  </a:cubicBezTo>
                  <a:lnTo>
                    <a:pt x="7470" y="17461"/>
                  </a:lnTo>
                  <a:cubicBezTo>
                    <a:pt x="3344" y="17461"/>
                    <a:pt x="0" y="14117"/>
                    <a:pt x="0" y="9991"/>
                  </a:cubicBezTo>
                  <a:lnTo>
                    <a:pt x="0" y="7470"/>
                  </a:lnTo>
                  <a:close/>
                </a:path>
              </a:pathLst>
            </a:custGeom>
            <a:grpFill/>
            <a:ln w="7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" name="Полилиния: фигура 73">
              <a:extLst>
                <a:ext uri="{FF2B5EF4-FFF2-40B4-BE49-F238E27FC236}">
                  <a16:creationId xmlns:a16="http://schemas.microsoft.com/office/drawing/2014/main" id="{01F9C3D5-1164-40D9-8ADD-358CEC1F1227}"/>
                </a:ext>
              </a:extLst>
            </p:cNvPr>
            <p:cNvSpPr/>
            <p:nvPr/>
          </p:nvSpPr>
          <p:spPr>
            <a:xfrm>
              <a:off x="5354537" y="4600786"/>
              <a:ext cx="322704" cy="17460"/>
            </a:xfrm>
            <a:custGeom>
              <a:avLst/>
              <a:gdLst>
                <a:gd name="connsiteX0" fmla="*/ 0 w 322704"/>
                <a:gd name="connsiteY0" fmla="*/ 7470 h 17460"/>
                <a:gd name="connsiteX1" fmla="*/ 7470 w 322704"/>
                <a:gd name="connsiteY1" fmla="*/ 0 h 17460"/>
                <a:gd name="connsiteX2" fmla="*/ 315234 w 322704"/>
                <a:gd name="connsiteY2" fmla="*/ 0 h 17460"/>
                <a:gd name="connsiteX3" fmla="*/ 322704 w 322704"/>
                <a:gd name="connsiteY3" fmla="*/ 7470 h 17460"/>
                <a:gd name="connsiteX4" fmla="*/ 322704 w 322704"/>
                <a:gd name="connsiteY4" fmla="*/ 9990 h 17460"/>
                <a:gd name="connsiteX5" fmla="*/ 315234 w 322704"/>
                <a:gd name="connsiteY5" fmla="*/ 17460 h 17460"/>
                <a:gd name="connsiteX6" fmla="*/ 7470 w 322704"/>
                <a:gd name="connsiteY6" fmla="*/ 17460 h 17460"/>
                <a:gd name="connsiteX7" fmla="*/ 0 w 322704"/>
                <a:gd name="connsiteY7" fmla="*/ 9990 h 17460"/>
                <a:gd name="connsiteX8" fmla="*/ 0 w 322704"/>
                <a:gd name="connsiteY8" fmla="*/ 7470 h 17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2704" h="17460">
                  <a:moveTo>
                    <a:pt x="0" y="7470"/>
                  </a:moveTo>
                  <a:cubicBezTo>
                    <a:pt x="0" y="3344"/>
                    <a:pt x="3344" y="0"/>
                    <a:pt x="7470" y="0"/>
                  </a:cubicBezTo>
                  <a:lnTo>
                    <a:pt x="315234" y="0"/>
                  </a:lnTo>
                  <a:cubicBezTo>
                    <a:pt x="319360" y="0"/>
                    <a:pt x="322704" y="3344"/>
                    <a:pt x="322704" y="7470"/>
                  </a:cubicBezTo>
                  <a:lnTo>
                    <a:pt x="322704" y="9990"/>
                  </a:lnTo>
                  <a:cubicBezTo>
                    <a:pt x="322704" y="14116"/>
                    <a:pt x="319360" y="17460"/>
                    <a:pt x="315234" y="17460"/>
                  </a:cubicBezTo>
                  <a:lnTo>
                    <a:pt x="7470" y="17460"/>
                  </a:lnTo>
                  <a:cubicBezTo>
                    <a:pt x="3344" y="17460"/>
                    <a:pt x="0" y="14116"/>
                    <a:pt x="0" y="9990"/>
                  </a:cubicBezTo>
                  <a:lnTo>
                    <a:pt x="0" y="7470"/>
                  </a:lnTo>
                  <a:close/>
                </a:path>
              </a:pathLst>
            </a:custGeom>
            <a:grpFill/>
            <a:ln w="7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Полилиния: фигура 74">
              <a:extLst>
                <a:ext uri="{FF2B5EF4-FFF2-40B4-BE49-F238E27FC236}">
                  <a16:creationId xmlns:a16="http://schemas.microsoft.com/office/drawing/2014/main" id="{411BA0F5-4D2A-4851-9710-250E9369B2FE}"/>
                </a:ext>
              </a:extLst>
            </p:cNvPr>
            <p:cNvSpPr/>
            <p:nvPr/>
          </p:nvSpPr>
          <p:spPr>
            <a:xfrm>
              <a:off x="5354537" y="4636799"/>
              <a:ext cx="82322" cy="17461"/>
            </a:xfrm>
            <a:custGeom>
              <a:avLst/>
              <a:gdLst>
                <a:gd name="connsiteX0" fmla="*/ 0 w 82322"/>
                <a:gd name="connsiteY0" fmla="*/ 7470 h 17461"/>
                <a:gd name="connsiteX1" fmla="*/ 7470 w 82322"/>
                <a:gd name="connsiteY1" fmla="*/ 0 h 17461"/>
                <a:gd name="connsiteX2" fmla="*/ 74852 w 82322"/>
                <a:gd name="connsiteY2" fmla="*/ 0 h 17461"/>
                <a:gd name="connsiteX3" fmla="*/ 82322 w 82322"/>
                <a:gd name="connsiteY3" fmla="*/ 7470 h 17461"/>
                <a:gd name="connsiteX4" fmla="*/ 82322 w 82322"/>
                <a:gd name="connsiteY4" fmla="*/ 9991 h 17461"/>
                <a:gd name="connsiteX5" fmla="*/ 74852 w 82322"/>
                <a:gd name="connsiteY5" fmla="*/ 17461 h 17461"/>
                <a:gd name="connsiteX6" fmla="*/ 7470 w 82322"/>
                <a:gd name="connsiteY6" fmla="*/ 17461 h 17461"/>
                <a:gd name="connsiteX7" fmla="*/ 0 w 82322"/>
                <a:gd name="connsiteY7" fmla="*/ 9991 h 17461"/>
                <a:gd name="connsiteX8" fmla="*/ 0 w 82322"/>
                <a:gd name="connsiteY8" fmla="*/ 7470 h 17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2322" h="17461">
                  <a:moveTo>
                    <a:pt x="0" y="7470"/>
                  </a:moveTo>
                  <a:cubicBezTo>
                    <a:pt x="0" y="3344"/>
                    <a:pt x="3344" y="0"/>
                    <a:pt x="7470" y="0"/>
                  </a:cubicBezTo>
                  <a:lnTo>
                    <a:pt x="74852" y="0"/>
                  </a:lnTo>
                  <a:cubicBezTo>
                    <a:pt x="78978" y="0"/>
                    <a:pt x="82322" y="3344"/>
                    <a:pt x="82322" y="7470"/>
                  </a:cubicBezTo>
                  <a:lnTo>
                    <a:pt x="82322" y="9991"/>
                  </a:lnTo>
                  <a:cubicBezTo>
                    <a:pt x="82322" y="14117"/>
                    <a:pt x="78978" y="17461"/>
                    <a:pt x="74852" y="17461"/>
                  </a:cubicBezTo>
                  <a:lnTo>
                    <a:pt x="7470" y="17461"/>
                  </a:lnTo>
                  <a:cubicBezTo>
                    <a:pt x="3344" y="17461"/>
                    <a:pt x="0" y="14117"/>
                    <a:pt x="0" y="9991"/>
                  </a:cubicBezTo>
                  <a:lnTo>
                    <a:pt x="0" y="7470"/>
                  </a:lnTo>
                  <a:close/>
                </a:path>
              </a:pathLst>
            </a:custGeom>
            <a:grpFill/>
            <a:ln w="7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Полилиния: фигура 75">
              <a:extLst>
                <a:ext uri="{FF2B5EF4-FFF2-40B4-BE49-F238E27FC236}">
                  <a16:creationId xmlns:a16="http://schemas.microsoft.com/office/drawing/2014/main" id="{BF00EF3E-F6D6-4123-A9AB-D4F5AD3046D7}"/>
                </a:ext>
              </a:extLst>
            </p:cNvPr>
            <p:cNvSpPr/>
            <p:nvPr/>
          </p:nvSpPr>
          <p:spPr>
            <a:xfrm>
              <a:off x="5638397" y="4453312"/>
              <a:ext cx="63868" cy="63868"/>
            </a:xfrm>
            <a:custGeom>
              <a:avLst/>
              <a:gdLst>
                <a:gd name="connsiteX0" fmla="*/ 0 w 63868"/>
                <a:gd name="connsiteY0" fmla="*/ 0 h 63868"/>
                <a:gd name="connsiteX1" fmla="*/ 63495 w 63868"/>
                <a:gd name="connsiteY1" fmla="*/ 63868 h 63868"/>
                <a:gd name="connsiteX2" fmla="*/ 63869 w 63868"/>
                <a:gd name="connsiteY2" fmla="*/ 63869 h 63868"/>
                <a:gd name="connsiteX3" fmla="*/ 63869 w 63868"/>
                <a:gd name="connsiteY3" fmla="*/ 50423 h 63868"/>
                <a:gd name="connsiteX4" fmla="*/ 63495 w 63868"/>
                <a:gd name="connsiteY4" fmla="*/ 50421 h 63868"/>
                <a:gd name="connsiteX5" fmla="*/ 13446 w 63868"/>
                <a:gd name="connsiteY5" fmla="*/ 0 h 63868"/>
                <a:gd name="connsiteX6" fmla="*/ 0 w 63868"/>
                <a:gd name="connsiteY6" fmla="*/ 0 h 6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868" h="63868">
                  <a:moveTo>
                    <a:pt x="0" y="0"/>
                  </a:moveTo>
                  <a:cubicBezTo>
                    <a:pt x="0" y="35149"/>
                    <a:pt x="28393" y="63666"/>
                    <a:pt x="63495" y="63868"/>
                  </a:cubicBezTo>
                  <a:cubicBezTo>
                    <a:pt x="63620" y="63869"/>
                    <a:pt x="63744" y="63869"/>
                    <a:pt x="63869" y="63869"/>
                  </a:cubicBezTo>
                  <a:lnTo>
                    <a:pt x="63869" y="50423"/>
                  </a:lnTo>
                  <a:cubicBezTo>
                    <a:pt x="63744" y="50423"/>
                    <a:pt x="63620" y="50422"/>
                    <a:pt x="63495" y="50421"/>
                  </a:cubicBezTo>
                  <a:cubicBezTo>
                    <a:pt x="35819" y="50220"/>
                    <a:pt x="13446" y="27723"/>
                    <a:pt x="13446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7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: фигура 76">
              <a:extLst>
                <a:ext uri="{FF2B5EF4-FFF2-40B4-BE49-F238E27FC236}">
                  <a16:creationId xmlns:a16="http://schemas.microsoft.com/office/drawing/2014/main" id="{2ACA3FA2-9175-450F-B0CC-7203F8DFBE39}"/>
                </a:ext>
              </a:extLst>
            </p:cNvPr>
            <p:cNvSpPr/>
            <p:nvPr/>
          </p:nvSpPr>
          <p:spPr>
            <a:xfrm>
              <a:off x="5638397" y="4669568"/>
              <a:ext cx="63868" cy="63868"/>
            </a:xfrm>
            <a:custGeom>
              <a:avLst/>
              <a:gdLst>
                <a:gd name="connsiteX0" fmla="*/ 63869 w 63868"/>
                <a:gd name="connsiteY0" fmla="*/ 0 h 63868"/>
                <a:gd name="connsiteX1" fmla="*/ 63495 w 63868"/>
                <a:gd name="connsiteY1" fmla="*/ 1 h 63868"/>
                <a:gd name="connsiteX2" fmla="*/ 0 w 63868"/>
                <a:gd name="connsiteY2" fmla="*/ 63869 h 63868"/>
                <a:gd name="connsiteX3" fmla="*/ 13446 w 63868"/>
                <a:gd name="connsiteY3" fmla="*/ 63869 h 63868"/>
                <a:gd name="connsiteX4" fmla="*/ 63495 w 63868"/>
                <a:gd name="connsiteY4" fmla="*/ 13448 h 63868"/>
                <a:gd name="connsiteX5" fmla="*/ 63869 w 63868"/>
                <a:gd name="connsiteY5" fmla="*/ 13446 h 63868"/>
                <a:gd name="connsiteX6" fmla="*/ 63869 w 63868"/>
                <a:gd name="connsiteY6" fmla="*/ 0 h 6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868" h="63868">
                  <a:moveTo>
                    <a:pt x="63869" y="0"/>
                  </a:moveTo>
                  <a:cubicBezTo>
                    <a:pt x="63744" y="0"/>
                    <a:pt x="63620" y="0"/>
                    <a:pt x="63495" y="1"/>
                  </a:cubicBezTo>
                  <a:cubicBezTo>
                    <a:pt x="28393" y="202"/>
                    <a:pt x="0" y="28719"/>
                    <a:pt x="0" y="63869"/>
                  </a:cubicBezTo>
                  <a:lnTo>
                    <a:pt x="13446" y="63869"/>
                  </a:lnTo>
                  <a:cubicBezTo>
                    <a:pt x="13446" y="36146"/>
                    <a:pt x="35819" y="13648"/>
                    <a:pt x="63495" y="13448"/>
                  </a:cubicBezTo>
                  <a:cubicBezTo>
                    <a:pt x="63620" y="13447"/>
                    <a:pt x="63744" y="13446"/>
                    <a:pt x="63869" y="13446"/>
                  </a:cubicBezTo>
                  <a:lnTo>
                    <a:pt x="63869" y="0"/>
                  </a:lnTo>
                  <a:close/>
                </a:path>
              </a:pathLst>
            </a:custGeom>
            <a:grpFill/>
            <a:ln w="7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: фигура 77">
              <a:extLst>
                <a:ext uri="{FF2B5EF4-FFF2-40B4-BE49-F238E27FC236}">
                  <a16:creationId xmlns:a16="http://schemas.microsoft.com/office/drawing/2014/main" id="{8A7378FA-FD1E-4531-B623-875C19BA27EB}"/>
                </a:ext>
              </a:extLst>
            </p:cNvPr>
            <p:cNvSpPr/>
            <p:nvPr/>
          </p:nvSpPr>
          <p:spPr>
            <a:xfrm>
              <a:off x="5329512" y="4669568"/>
              <a:ext cx="63868" cy="63868"/>
            </a:xfrm>
            <a:custGeom>
              <a:avLst/>
              <a:gdLst>
                <a:gd name="connsiteX0" fmla="*/ 63869 w 63868"/>
                <a:gd name="connsiteY0" fmla="*/ 63869 h 63868"/>
                <a:gd name="connsiteX1" fmla="*/ 0 w 63868"/>
                <a:gd name="connsiteY1" fmla="*/ 0 h 63868"/>
                <a:gd name="connsiteX2" fmla="*/ 0 w 63868"/>
                <a:gd name="connsiteY2" fmla="*/ 13446 h 63868"/>
                <a:gd name="connsiteX3" fmla="*/ 50423 w 63868"/>
                <a:gd name="connsiteY3" fmla="*/ 63869 h 63868"/>
                <a:gd name="connsiteX4" fmla="*/ 63869 w 63868"/>
                <a:gd name="connsiteY4" fmla="*/ 63869 h 6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868" h="63868">
                  <a:moveTo>
                    <a:pt x="63869" y="63869"/>
                  </a:moveTo>
                  <a:cubicBezTo>
                    <a:pt x="63869" y="28595"/>
                    <a:pt x="35274" y="0"/>
                    <a:pt x="0" y="0"/>
                  </a:cubicBezTo>
                  <a:lnTo>
                    <a:pt x="0" y="13446"/>
                  </a:lnTo>
                  <a:cubicBezTo>
                    <a:pt x="27848" y="13446"/>
                    <a:pt x="50423" y="36021"/>
                    <a:pt x="50423" y="63869"/>
                  </a:cubicBezTo>
                  <a:lnTo>
                    <a:pt x="63869" y="63869"/>
                  </a:lnTo>
                  <a:close/>
                </a:path>
              </a:pathLst>
            </a:custGeom>
            <a:grpFill/>
            <a:ln w="7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Полилиния: фигура 78">
              <a:extLst>
                <a:ext uri="{FF2B5EF4-FFF2-40B4-BE49-F238E27FC236}">
                  <a16:creationId xmlns:a16="http://schemas.microsoft.com/office/drawing/2014/main" id="{E5E063CD-674B-4E0E-8A8B-F9380473C3B0}"/>
                </a:ext>
              </a:extLst>
            </p:cNvPr>
            <p:cNvSpPr/>
            <p:nvPr/>
          </p:nvSpPr>
          <p:spPr>
            <a:xfrm>
              <a:off x="5329139" y="4453312"/>
              <a:ext cx="63868" cy="63868"/>
            </a:xfrm>
            <a:custGeom>
              <a:avLst/>
              <a:gdLst>
                <a:gd name="connsiteX0" fmla="*/ 0 w 63868"/>
                <a:gd name="connsiteY0" fmla="*/ 63869 h 63868"/>
                <a:gd name="connsiteX1" fmla="*/ 63869 w 63868"/>
                <a:gd name="connsiteY1" fmla="*/ 0 h 63868"/>
                <a:gd name="connsiteX2" fmla="*/ 50423 w 63868"/>
                <a:gd name="connsiteY2" fmla="*/ 0 h 63868"/>
                <a:gd name="connsiteX3" fmla="*/ 0 w 63868"/>
                <a:gd name="connsiteY3" fmla="*/ 50423 h 63868"/>
                <a:gd name="connsiteX4" fmla="*/ 0 w 63868"/>
                <a:gd name="connsiteY4" fmla="*/ 63869 h 63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868" h="63868">
                  <a:moveTo>
                    <a:pt x="0" y="63869"/>
                  </a:moveTo>
                  <a:cubicBezTo>
                    <a:pt x="35274" y="63869"/>
                    <a:pt x="63869" y="35274"/>
                    <a:pt x="63869" y="0"/>
                  </a:cubicBezTo>
                  <a:lnTo>
                    <a:pt x="50423" y="0"/>
                  </a:lnTo>
                  <a:cubicBezTo>
                    <a:pt x="50423" y="27848"/>
                    <a:pt x="27848" y="50423"/>
                    <a:pt x="0" y="50423"/>
                  </a:cubicBezTo>
                  <a:lnTo>
                    <a:pt x="0" y="63869"/>
                  </a:lnTo>
                  <a:close/>
                </a:path>
              </a:pathLst>
            </a:custGeom>
            <a:grpFill/>
            <a:ln w="7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Полилиния: фигура 79">
              <a:extLst>
                <a:ext uri="{FF2B5EF4-FFF2-40B4-BE49-F238E27FC236}">
                  <a16:creationId xmlns:a16="http://schemas.microsoft.com/office/drawing/2014/main" id="{DF113DD6-5767-4626-9957-CB34F508FB77}"/>
                </a:ext>
              </a:extLst>
            </p:cNvPr>
            <p:cNvSpPr/>
            <p:nvPr/>
          </p:nvSpPr>
          <p:spPr>
            <a:xfrm>
              <a:off x="5312705" y="4440613"/>
              <a:ext cx="405621" cy="304776"/>
            </a:xfrm>
            <a:custGeom>
              <a:avLst/>
              <a:gdLst>
                <a:gd name="connsiteX0" fmla="*/ 398151 w 405621"/>
                <a:gd name="connsiteY0" fmla="*/ 0 h 304776"/>
                <a:gd name="connsiteX1" fmla="*/ 7470 w 405621"/>
                <a:gd name="connsiteY1" fmla="*/ 0 h 304776"/>
                <a:gd name="connsiteX2" fmla="*/ 0 w 405621"/>
                <a:gd name="connsiteY2" fmla="*/ 7470 h 304776"/>
                <a:gd name="connsiteX3" fmla="*/ 0 w 405621"/>
                <a:gd name="connsiteY3" fmla="*/ 297306 h 304776"/>
                <a:gd name="connsiteX4" fmla="*/ 7470 w 405621"/>
                <a:gd name="connsiteY4" fmla="*/ 304776 h 304776"/>
                <a:gd name="connsiteX5" fmla="*/ 146184 w 405621"/>
                <a:gd name="connsiteY5" fmla="*/ 304776 h 304776"/>
                <a:gd name="connsiteX6" fmla="*/ 142105 w 405621"/>
                <a:gd name="connsiteY6" fmla="*/ 292824 h 304776"/>
                <a:gd name="connsiteX7" fmla="*/ 80676 w 405621"/>
                <a:gd name="connsiteY7" fmla="*/ 292824 h 304776"/>
                <a:gd name="connsiteX8" fmla="*/ 67230 w 405621"/>
                <a:gd name="connsiteY8" fmla="*/ 292824 h 304776"/>
                <a:gd name="connsiteX9" fmla="*/ 23904 w 405621"/>
                <a:gd name="connsiteY9" fmla="*/ 292824 h 304776"/>
                <a:gd name="connsiteX10" fmla="*/ 16434 w 405621"/>
                <a:gd name="connsiteY10" fmla="*/ 285354 h 304776"/>
                <a:gd name="connsiteX11" fmla="*/ 16434 w 405621"/>
                <a:gd name="connsiteY11" fmla="*/ 76568 h 304776"/>
                <a:gd name="connsiteX12" fmla="*/ 16434 w 405621"/>
                <a:gd name="connsiteY12" fmla="*/ 63122 h 304776"/>
                <a:gd name="connsiteX13" fmla="*/ 16434 w 405621"/>
                <a:gd name="connsiteY13" fmla="*/ 20169 h 304776"/>
                <a:gd name="connsiteX14" fmla="*/ 23904 w 405621"/>
                <a:gd name="connsiteY14" fmla="*/ 12699 h 304776"/>
                <a:gd name="connsiteX15" fmla="*/ 66857 w 405621"/>
                <a:gd name="connsiteY15" fmla="*/ 12699 h 304776"/>
                <a:gd name="connsiteX16" fmla="*/ 80303 w 405621"/>
                <a:gd name="connsiteY16" fmla="*/ 12699 h 304776"/>
                <a:gd name="connsiteX17" fmla="*/ 325692 w 405621"/>
                <a:gd name="connsiteY17" fmla="*/ 12699 h 304776"/>
                <a:gd name="connsiteX18" fmla="*/ 339138 w 405621"/>
                <a:gd name="connsiteY18" fmla="*/ 12699 h 304776"/>
                <a:gd name="connsiteX19" fmla="*/ 381717 w 405621"/>
                <a:gd name="connsiteY19" fmla="*/ 12699 h 304776"/>
                <a:gd name="connsiteX20" fmla="*/ 389187 w 405621"/>
                <a:gd name="connsiteY20" fmla="*/ 20169 h 304776"/>
                <a:gd name="connsiteX21" fmla="*/ 389187 w 405621"/>
                <a:gd name="connsiteY21" fmla="*/ 63120 h 304776"/>
                <a:gd name="connsiteX22" fmla="*/ 389561 w 405621"/>
                <a:gd name="connsiteY22" fmla="*/ 63122 h 304776"/>
                <a:gd name="connsiteX23" fmla="*/ 389561 w 405621"/>
                <a:gd name="connsiteY23" fmla="*/ 76568 h 304776"/>
                <a:gd name="connsiteX24" fmla="*/ 389187 w 405621"/>
                <a:gd name="connsiteY24" fmla="*/ 76567 h 304776"/>
                <a:gd name="connsiteX25" fmla="*/ 389187 w 405621"/>
                <a:gd name="connsiteY25" fmla="*/ 228956 h 304776"/>
                <a:gd name="connsiteX26" fmla="*/ 389561 w 405621"/>
                <a:gd name="connsiteY26" fmla="*/ 228956 h 304776"/>
                <a:gd name="connsiteX27" fmla="*/ 389561 w 405621"/>
                <a:gd name="connsiteY27" fmla="*/ 242402 h 304776"/>
                <a:gd name="connsiteX28" fmla="*/ 389187 w 405621"/>
                <a:gd name="connsiteY28" fmla="*/ 242403 h 304776"/>
                <a:gd name="connsiteX29" fmla="*/ 389187 w 405621"/>
                <a:gd name="connsiteY29" fmla="*/ 285354 h 304776"/>
                <a:gd name="connsiteX30" fmla="*/ 381717 w 405621"/>
                <a:gd name="connsiteY30" fmla="*/ 292824 h 304776"/>
                <a:gd name="connsiteX31" fmla="*/ 339138 w 405621"/>
                <a:gd name="connsiteY31" fmla="*/ 292824 h 304776"/>
                <a:gd name="connsiteX32" fmla="*/ 325692 w 405621"/>
                <a:gd name="connsiteY32" fmla="*/ 292824 h 304776"/>
                <a:gd name="connsiteX33" fmla="*/ 266504 w 405621"/>
                <a:gd name="connsiteY33" fmla="*/ 292824 h 304776"/>
                <a:gd name="connsiteX34" fmla="*/ 262425 w 405621"/>
                <a:gd name="connsiteY34" fmla="*/ 304776 h 304776"/>
                <a:gd name="connsiteX35" fmla="*/ 398151 w 405621"/>
                <a:gd name="connsiteY35" fmla="*/ 304776 h 304776"/>
                <a:gd name="connsiteX36" fmla="*/ 405621 w 405621"/>
                <a:gd name="connsiteY36" fmla="*/ 297306 h 304776"/>
                <a:gd name="connsiteX37" fmla="*/ 405621 w 405621"/>
                <a:gd name="connsiteY37" fmla="*/ 7470 h 304776"/>
                <a:gd name="connsiteX38" fmla="*/ 398151 w 405621"/>
                <a:gd name="connsiteY38" fmla="*/ 0 h 304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05621" h="304776">
                  <a:moveTo>
                    <a:pt x="398151" y="0"/>
                  </a:moveTo>
                  <a:lnTo>
                    <a:pt x="7470" y="0"/>
                  </a:lnTo>
                  <a:cubicBezTo>
                    <a:pt x="3344" y="0"/>
                    <a:pt x="0" y="3344"/>
                    <a:pt x="0" y="7470"/>
                  </a:cubicBezTo>
                  <a:lnTo>
                    <a:pt x="0" y="297306"/>
                  </a:lnTo>
                  <a:cubicBezTo>
                    <a:pt x="0" y="301432"/>
                    <a:pt x="3344" y="304776"/>
                    <a:pt x="7470" y="304776"/>
                  </a:cubicBezTo>
                  <a:lnTo>
                    <a:pt x="146184" y="304776"/>
                  </a:lnTo>
                  <a:cubicBezTo>
                    <a:pt x="144448" y="300978"/>
                    <a:pt x="143074" y="296979"/>
                    <a:pt x="142105" y="292824"/>
                  </a:cubicBezTo>
                  <a:lnTo>
                    <a:pt x="80676" y="292824"/>
                  </a:lnTo>
                  <a:lnTo>
                    <a:pt x="67230" y="292824"/>
                  </a:lnTo>
                  <a:lnTo>
                    <a:pt x="23904" y="292824"/>
                  </a:lnTo>
                  <a:cubicBezTo>
                    <a:pt x="19778" y="292824"/>
                    <a:pt x="16434" y="289480"/>
                    <a:pt x="16434" y="285354"/>
                  </a:cubicBezTo>
                  <a:lnTo>
                    <a:pt x="16434" y="76568"/>
                  </a:lnTo>
                  <a:lnTo>
                    <a:pt x="16434" y="63122"/>
                  </a:lnTo>
                  <a:lnTo>
                    <a:pt x="16434" y="20169"/>
                  </a:lnTo>
                  <a:cubicBezTo>
                    <a:pt x="16434" y="16043"/>
                    <a:pt x="19778" y="12699"/>
                    <a:pt x="23904" y="12699"/>
                  </a:cubicBezTo>
                  <a:lnTo>
                    <a:pt x="66857" y="12699"/>
                  </a:lnTo>
                  <a:lnTo>
                    <a:pt x="80303" y="12699"/>
                  </a:lnTo>
                  <a:lnTo>
                    <a:pt x="325692" y="12699"/>
                  </a:lnTo>
                  <a:lnTo>
                    <a:pt x="339138" y="12699"/>
                  </a:lnTo>
                  <a:lnTo>
                    <a:pt x="381717" y="12699"/>
                  </a:lnTo>
                  <a:cubicBezTo>
                    <a:pt x="385843" y="12699"/>
                    <a:pt x="389187" y="16043"/>
                    <a:pt x="389187" y="20169"/>
                  </a:cubicBezTo>
                  <a:lnTo>
                    <a:pt x="389187" y="63120"/>
                  </a:lnTo>
                  <a:cubicBezTo>
                    <a:pt x="389312" y="63121"/>
                    <a:pt x="389436" y="63122"/>
                    <a:pt x="389561" y="63122"/>
                  </a:cubicBezTo>
                  <a:lnTo>
                    <a:pt x="389561" y="76568"/>
                  </a:lnTo>
                  <a:cubicBezTo>
                    <a:pt x="389436" y="76568"/>
                    <a:pt x="389312" y="76568"/>
                    <a:pt x="389187" y="76567"/>
                  </a:cubicBezTo>
                  <a:lnTo>
                    <a:pt x="389187" y="228956"/>
                  </a:lnTo>
                  <a:cubicBezTo>
                    <a:pt x="389312" y="228956"/>
                    <a:pt x="389436" y="228956"/>
                    <a:pt x="389561" y="228956"/>
                  </a:cubicBezTo>
                  <a:lnTo>
                    <a:pt x="389561" y="242402"/>
                  </a:lnTo>
                  <a:cubicBezTo>
                    <a:pt x="389436" y="242402"/>
                    <a:pt x="389312" y="242402"/>
                    <a:pt x="389187" y="242403"/>
                  </a:cubicBezTo>
                  <a:lnTo>
                    <a:pt x="389187" y="285354"/>
                  </a:lnTo>
                  <a:cubicBezTo>
                    <a:pt x="389187" y="289480"/>
                    <a:pt x="385843" y="292824"/>
                    <a:pt x="381717" y="292824"/>
                  </a:cubicBezTo>
                  <a:lnTo>
                    <a:pt x="339138" y="292824"/>
                  </a:lnTo>
                  <a:lnTo>
                    <a:pt x="325692" y="292824"/>
                  </a:lnTo>
                  <a:lnTo>
                    <a:pt x="266504" y="292824"/>
                  </a:lnTo>
                  <a:cubicBezTo>
                    <a:pt x="265535" y="296979"/>
                    <a:pt x="264161" y="300978"/>
                    <a:pt x="262425" y="304776"/>
                  </a:cubicBezTo>
                  <a:lnTo>
                    <a:pt x="398151" y="304776"/>
                  </a:lnTo>
                  <a:cubicBezTo>
                    <a:pt x="402277" y="304776"/>
                    <a:pt x="405621" y="301432"/>
                    <a:pt x="405621" y="297306"/>
                  </a:cubicBezTo>
                  <a:lnTo>
                    <a:pt x="405621" y="7470"/>
                  </a:lnTo>
                  <a:cubicBezTo>
                    <a:pt x="405621" y="3344"/>
                    <a:pt x="402277" y="0"/>
                    <a:pt x="398151" y="0"/>
                  </a:cubicBezTo>
                  <a:close/>
                </a:path>
              </a:pathLst>
            </a:custGeom>
            <a:grpFill/>
            <a:ln w="7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: фигура 80">
              <a:extLst>
                <a:ext uri="{FF2B5EF4-FFF2-40B4-BE49-F238E27FC236}">
                  <a16:creationId xmlns:a16="http://schemas.microsoft.com/office/drawing/2014/main" id="{5746F454-7D92-4ECF-8789-3F95C3CF5C7C}"/>
                </a:ext>
              </a:extLst>
            </p:cNvPr>
            <p:cNvSpPr/>
            <p:nvPr/>
          </p:nvSpPr>
          <p:spPr>
            <a:xfrm>
              <a:off x="5453141" y="4655002"/>
              <a:ext cx="127737" cy="127737"/>
            </a:xfrm>
            <a:custGeom>
              <a:avLst/>
              <a:gdLst>
                <a:gd name="connsiteX0" fmla="*/ 63869 w 127737"/>
                <a:gd name="connsiteY0" fmla="*/ 0 h 127737"/>
                <a:gd name="connsiteX1" fmla="*/ 0 w 127737"/>
                <a:gd name="connsiteY1" fmla="*/ 63869 h 127737"/>
                <a:gd name="connsiteX2" fmla="*/ 1669 w 127737"/>
                <a:gd name="connsiteY2" fmla="*/ 78435 h 127737"/>
                <a:gd name="connsiteX3" fmla="*/ 5748 w 127737"/>
                <a:gd name="connsiteY3" fmla="*/ 90387 h 127737"/>
                <a:gd name="connsiteX4" fmla="*/ 18930 w 127737"/>
                <a:gd name="connsiteY4" fmla="*/ 109252 h 127737"/>
                <a:gd name="connsiteX5" fmla="*/ 28999 w 127737"/>
                <a:gd name="connsiteY5" fmla="*/ 117387 h 127737"/>
                <a:gd name="connsiteX6" fmla="*/ 43772 w 127737"/>
                <a:gd name="connsiteY6" fmla="*/ 124511 h 127737"/>
                <a:gd name="connsiteX7" fmla="*/ 55804 w 127737"/>
                <a:gd name="connsiteY7" fmla="*/ 127233 h 127737"/>
                <a:gd name="connsiteX8" fmla="*/ 63869 w 127737"/>
                <a:gd name="connsiteY8" fmla="*/ 127737 h 127737"/>
                <a:gd name="connsiteX9" fmla="*/ 68196 w 127737"/>
                <a:gd name="connsiteY9" fmla="*/ 127593 h 127737"/>
                <a:gd name="connsiteX10" fmla="*/ 80320 w 127737"/>
                <a:gd name="connsiteY10" fmla="*/ 125598 h 127737"/>
                <a:gd name="connsiteX11" fmla="*/ 95894 w 127737"/>
                <a:gd name="connsiteY11" fmla="*/ 119140 h 127737"/>
                <a:gd name="connsiteX12" fmla="*/ 106241 w 127737"/>
                <a:gd name="connsiteY12" fmla="*/ 111659 h 127737"/>
                <a:gd name="connsiteX13" fmla="*/ 121989 w 127737"/>
                <a:gd name="connsiteY13" fmla="*/ 90387 h 127737"/>
                <a:gd name="connsiteX14" fmla="*/ 126068 w 127737"/>
                <a:gd name="connsiteY14" fmla="*/ 78435 h 127737"/>
                <a:gd name="connsiteX15" fmla="*/ 127737 w 127737"/>
                <a:gd name="connsiteY15" fmla="*/ 63869 h 127737"/>
                <a:gd name="connsiteX16" fmla="*/ 63869 w 127737"/>
                <a:gd name="connsiteY16" fmla="*/ 0 h 127737"/>
                <a:gd name="connsiteX17" fmla="*/ 63869 w 127737"/>
                <a:gd name="connsiteY17" fmla="*/ 114291 h 127737"/>
                <a:gd name="connsiteX18" fmla="*/ 114291 w 127737"/>
                <a:gd name="connsiteY18" fmla="*/ 63869 h 127737"/>
                <a:gd name="connsiteX19" fmla="*/ 63869 w 127737"/>
                <a:gd name="connsiteY19" fmla="*/ 13446 h 127737"/>
                <a:gd name="connsiteX20" fmla="*/ 13446 w 127737"/>
                <a:gd name="connsiteY20" fmla="*/ 63869 h 127737"/>
                <a:gd name="connsiteX21" fmla="*/ 63869 w 127737"/>
                <a:gd name="connsiteY21" fmla="*/ 114291 h 12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7737" h="127737">
                  <a:moveTo>
                    <a:pt x="63869" y="0"/>
                  </a:moveTo>
                  <a:cubicBezTo>
                    <a:pt x="28595" y="0"/>
                    <a:pt x="0" y="28595"/>
                    <a:pt x="0" y="63869"/>
                  </a:cubicBezTo>
                  <a:cubicBezTo>
                    <a:pt x="0" y="68879"/>
                    <a:pt x="577" y="73757"/>
                    <a:pt x="1669" y="78435"/>
                  </a:cubicBezTo>
                  <a:cubicBezTo>
                    <a:pt x="2638" y="82590"/>
                    <a:pt x="4012" y="86589"/>
                    <a:pt x="5748" y="90387"/>
                  </a:cubicBezTo>
                  <a:cubicBezTo>
                    <a:pt x="8983" y="97464"/>
                    <a:pt x="13471" y="103847"/>
                    <a:pt x="18930" y="109252"/>
                  </a:cubicBezTo>
                  <a:cubicBezTo>
                    <a:pt x="21997" y="112290"/>
                    <a:pt x="25370" y="115018"/>
                    <a:pt x="28999" y="117387"/>
                  </a:cubicBezTo>
                  <a:cubicBezTo>
                    <a:pt x="33554" y="120361"/>
                    <a:pt x="38512" y="122769"/>
                    <a:pt x="43772" y="124511"/>
                  </a:cubicBezTo>
                  <a:cubicBezTo>
                    <a:pt x="47632" y="125790"/>
                    <a:pt x="51657" y="126710"/>
                    <a:pt x="55804" y="127233"/>
                  </a:cubicBezTo>
                  <a:cubicBezTo>
                    <a:pt x="58445" y="127565"/>
                    <a:pt x="61137" y="127737"/>
                    <a:pt x="63869" y="127737"/>
                  </a:cubicBezTo>
                  <a:cubicBezTo>
                    <a:pt x="65323" y="127737"/>
                    <a:pt x="66766" y="127688"/>
                    <a:pt x="68196" y="127593"/>
                  </a:cubicBezTo>
                  <a:cubicBezTo>
                    <a:pt x="72359" y="127314"/>
                    <a:pt x="76413" y="126637"/>
                    <a:pt x="80320" y="125598"/>
                  </a:cubicBezTo>
                  <a:cubicBezTo>
                    <a:pt x="85841" y="124130"/>
                    <a:pt x="91068" y="121942"/>
                    <a:pt x="95894" y="119140"/>
                  </a:cubicBezTo>
                  <a:cubicBezTo>
                    <a:pt x="99595" y="116991"/>
                    <a:pt x="103059" y="114481"/>
                    <a:pt x="106241" y="111659"/>
                  </a:cubicBezTo>
                  <a:cubicBezTo>
                    <a:pt x="112866" y="105780"/>
                    <a:pt x="118261" y="98544"/>
                    <a:pt x="121989" y="90387"/>
                  </a:cubicBezTo>
                  <a:cubicBezTo>
                    <a:pt x="123725" y="86589"/>
                    <a:pt x="125099" y="82590"/>
                    <a:pt x="126068" y="78435"/>
                  </a:cubicBezTo>
                  <a:cubicBezTo>
                    <a:pt x="127160" y="73757"/>
                    <a:pt x="127737" y="68879"/>
                    <a:pt x="127737" y="63869"/>
                  </a:cubicBezTo>
                  <a:cubicBezTo>
                    <a:pt x="127737" y="28595"/>
                    <a:pt x="99142" y="0"/>
                    <a:pt x="63869" y="0"/>
                  </a:cubicBezTo>
                  <a:close/>
                  <a:moveTo>
                    <a:pt x="63869" y="114291"/>
                  </a:moveTo>
                  <a:cubicBezTo>
                    <a:pt x="91716" y="114291"/>
                    <a:pt x="114291" y="91716"/>
                    <a:pt x="114291" y="63869"/>
                  </a:cubicBezTo>
                  <a:cubicBezTo>
                    <a:pt x="114291" y="36021"/>
                    <a:pt x="91716" y="13446"/>
                    <a:pt x="63869" y="13446"/>
                  </a:cubicBezTo>
                  <a:cubicBezTo>
                    <a:pt x="36021" y="13446"/>
                    <a:pt x="13446" y="36021"/>
                    <a:pt x="13446" y="63869"/>
                  </a:cubicBezTo>
                  <a:cubicBezTo>
                    <a:pt x="13446" y="91716"/>
                    <a:pt x="36021" y="114291"/>
                    <a:pt x="63869" y="114291"/>
                  </a:cubicBezTo>
                  <a:close/>
                </a:path>
              </a:pathLst>
            </a:custGeom>
            <a:grpFill/>
            <a:ln w="7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: фигура 81">
              <a:extLst>
                <a:ext uri="{FF2B5EF4-FFF2-40B4-BE49-F238E27FC236}">
                  <a16:creationId xmlns:a16="http://schemas.microsoft.com/office/drawing/2014/main" id="{AD1E2797-0909-444E-9DF0-EC070DDEBE04}"/>
                </a:ext>
              </a:extLst>
            </p:cNvPr>
            <p:cNvSpPr/>
            <p:nvPr/>
          </p:nvSpPr>
          <p:spPr>
            <a:xfrm>
              <a:off x="5521336" y="4766660"/>
              <a:ext cx="69473" cy="70564"/>
            </a:xfrm>
            <a:custGeom>
              <a:avLst/>
              <a:gdLst>
                <a:gd name="connsiteX0" fmla="*/ 36085 w 69473"/>
                <a:gd name="connsiteY0" fmla="*/ 47319 h 70564"/>
                <a:gd name="connsiteX1" fmla="*/ 67556 w 69473"/>
                <a:gd name="connsiteY1" fmla="*/ 56498 h 70564"/>
                <a:gd name="connsiteX2" fmla="*/ 69269 w 69473"/>
                <a:gd name="connsiteY2" fmla="*/ 54319 h 70564"/>
                <a:gd name="connsiteX3" fmla="*/ 38045 w 69473"/>
                <a:gd name="connsiteY3" fmla="*/ 0 h 70564"/>
                <a:gd name="connsiteX4" fmla="*/ 27698 w 69473"/>
                <a:gd name="connsiteY4" fmla="*/ 7481 h 70564"/>
                <a:gd name="connsiteX5" fmla="*/ 46567 w 69473"/>
                <a:gd name="connsiteY5" fmla="*/ 36669 h 70564"/>
                <a:gd name="connsiteX6" fmla="*/ 44910 w 69473"/>
                <a:gd name="connsiteY6" fmla="*/ 38919 h 70564"/>
                <a:gd name="connsiteX7" fmla="*/ 30915 w 69473"/>
                <a:gd name="connsiteY7" fmla="*/ 35000 h 70564"/>
                <a:gd name="connsiteX8" fmla="*/ 29415 w 69473"/>
                <a:gd name="connsiteY8" fmla="*/ 35425 h 70564"/>
                <a:gd name="connsiteX9" fmla="*/ 18767 w 69473"/>
                <a:gd name="connsiteY9" fmla="*/ 46960 h 70564"/>
                <a:gd name="connsiteX10" fmla="*/ 16187 w 69473"/>
                <a:gd name="connsiteY10" fmla="*/ 46134 h 70564"/>
                <a:gd name="connsiteX11" fmla="*/ 12124 w 69473"/>
                <a:gd name="connsiteY11" fmla="*/ 13940 h 70564"/>
                <a:gd name="connsiteX12" fmla="*/ 0 w 69473"/>
                <a:gd name="connsiteY12" fmla="*/ 15934 h 70564"/>
                <a:gd name="connsiteX13" fmla="*/ 8308 w 69473"/>
                <a:gd name="connsiteY13" fmla="*/ 69298 h 70564"/>
                <a:gd name="connsiteX14" fmla="*/ 10810 w 69473"/>
                <a:gd name="connsiteY14" fmla="*/ 70155 h 70564"/>
                <a:gd name="connsiteX15" fmla="*/ 34641 w 69473"/>
                <a:gd name="connsiteY15" fmla="*/ 47666 h 70564"/>
                <a:gd name="connsiteX16" fmla="*/ 36085 w 69473"/>
                <a:gd name="connsiteY16" fmla="*/ 47319 h 70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9473" h="70564">
                  <a:moveTo>
                    <a:pt x="36085" y="47319"/>
                  </a:moveTo>
                  <a:lnTo>
                    <a:pt x="67556" y="56498"/>
                  </a:lnTo>
                  <a:cubicBezTo>
                    <a:pt x="68848" y="56874"/>
                    <a:pt x="69940" y="55486"/>
                    <a:pt x="69269" y="54319"/>
                  </a:cubicBezTo>
                  <a:lnTo>
                    <a:pt x="38045" y="0"/>
                  </a:lnTo>
                  <a:cubicBezTo>
                    <a:pt x="34863" y="2823"/>
                    <a:pt x="31399" y="5332"/>
                    <a:pt x="27698" y="7481"/>
                  </a:cubicBezTo>
                  <a:lnTo>
                    <a:pt x="46567" y="36669"/>
                  </a:lnTo>
                  <a:cubicBezTo>
                    <a:pt x="47314" y="37824"/>
                    <a:pt x="46235" y="39289"/>
                    <a:pt x="44910" y="38919"/>
                  </a:cubicBezTo>
                  <a:lnTo>
                    <a:pt x="30915" y="35000"/>
                  </a:lnTo>
                  <a:cubicBezTo>
                    <a:pt x="30375" y="34848"/>
                    <a:pt x="29795" y="35013"/>
                    <a:pt x="29415" y="35425"/>
                  </a:cubicBezTo>
                  <a:lnTo>
                    <a:pt x="18767" y="46960"/>
                  </a:lnTo>
                  <a:cubicBezTo>
                    <a:pt x="17905" y="47894"/>
                    <a:pt x="16346" y="47394"/>
                    <a:pt x="16187" y="46134"/>
                  </a:cubicBezTo>
                  <a:lnTo>
                    <a:pt x="12124" y="13940"/>
                  </a:lnTo>
                  <a:cubicBezTo>
                    <a:pt x="8217" y="14978"/>
                    <a:pt x="4163" y="15656"/>
                    <a:pt x="0" y="15934"/>
                  </a:cubicBezTo>
                  <a:lnTo>
                    <a:pt x="8308" y="69298"/>
                  </a:lnTo>
                  <a:cubicBezTo>
                    <a:pt x="8493" y="70487"/>
                    <a:pt x="9935" y="70981"/>
                    <a:pt x="10810" y="70155"/>
                  </a:cubicBezTo>
                  <a:lnTo>
                    <a:pt x="34641" y="47666"/>
                  </a:lnTo>
                  <a:cubicBezTo>
                    <a:pt x="35027" y="47302"/>
                    <a:pt x="35576" y="47170"/>
                    <a:pt x="36085" y="47319"/>
                  </a:cubicBezTo>
                  <a:close/>
                </a:path>
              </a:pathLst>
            </a:custGeom>
            <a:grpFill/>
            <a:ln w="7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Полилиния: фигура 82">
              <a:extLst>
                <a:ext uri="{FF2B5EF4-FFF2-40B4-BE49-F238E27FC236}">
                  <a16:creationId xmlns:a16="http://schemas.microsoft.com/office/drawing/2014/main" id="{0B64A4C1-57F5-435B-BDFF-D4398ACC7B91}"/>
                </a:ext>
              </a:extLst>
            </p:cNvPr>
            <p:cNvSpPr/>
            <p:nvPr/>
          </p:nvSpPr>
          <p:spPr>
            <a:xfrm>
              <a:off x="5439473" y="4764254"/>
              <a:ext cx="69470" cy="72596"/>
            </a:xfrm>
            <a:custGeom>
              <a:avLst/>
              <a:gdLst>
                <a:gd name="connsiteX0" fmla="*/ 1917 w 69470"/>
                <a:gd name="connsiteY0" fmla="*/ 58530 h 72596"/>
                <a:gd name="connsiteX1" fmla="*/ 33388 w 69470"/>
                <a:gd name="connsiteY1" fmla="*/ 49351 h 72596"/>
                <a:gd name="connsiteX2" fmla="*/ 34832 w 69470"/>
                <a:gd name="connsiteY2" fmla="*/ 49699 h 72596"/>
                <a:gd name="connsiteX3" fmla="*/ 58663 w 69470"/>
                <a:gd name="connsiteY3" fmla="*/ 72188 h 72596"/>
                <a:gd name="connsiteX4" fmla="*/ 61165 w 69470"/>
                <a:gd name="connsiteY4" fmla="*/ 71331 h 72596"/>
                <a:gd name="connsiteX5" fmla="*/ 69471 w 69470"/>
                <a:gd name="connsiteY5" fmla="*/ 17980 h 72596"/>
                <a:gd name="connsiteX6" fmla="*/ 57439 w 69470"/>
                <a:gd name="connsiteY6" fmla="*/ 15259 h 72596"/>
                <a:gd name="connsiteX7" fmla="*/ 53286 w 69470"/>
                <a:gd name="connsiteY7" fmla="*/ 48167 h 72596"/>
                <a:gd name="connsiteX8" fmla="*/ 50706 w 69470"/>
                <a:gd name="connsiteY8" fmla="*/ 48993 h 72596"/>
                <a:gd name="connsiteX9" fmla="*/ 40059 w 69470"/>
                <a:gd name="connsiteY9" fmla="*/ 37458 h 72596"/>
                <a:gd name="connsiteX10" fmla="*/ 38558 w 69470"/>
                <a:gd name="connsiteY10" fmla="*/ 37033 h 72596"/>
                <a:gd name="connsiteX11" fmla="*/ 24564 w 69470"/>
                <a:gd name="connsiteY11" fmla="*/ 40951 h 72596"/>
                <a:gd name="connsiteX12" fmla="*/ 22906 w 69470"/>
                <a:gd name="connsiteY12" fmla="*/ 38701 h 72596"/>
                <a:gd name="connsiteX13" fmla="*/ 42666 w 69470"/>
                <a:gd name="connsiteY13" fmla="*/ 8135 h 72596"/>
                <a:gd name="connsiteX14" fmla="*/ 32597 w 69470"/>
                <a:gd name="connsiteY14" fmla="*/ 0 h 72596"/>
                <a:gd name="connsiteX15" fmla="*/ 204 w 69470"/>
                <a:gd name="connsiteY15" fmla="*/ 56351 h 72596"/>
                <a:gd name="connsiteX16" fmla="*/ 1917 w 69470"/>
                <a:gd name="connsiteY16" fmla="*/ 58530 h 72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9470" h="72596">
                  <a:moveTo>
                    <a:pt x="1917" y="58530"/>
                  </a:moveTo>
                  <a:lnTo>
                    <a:pt x="33388" y="49351"/>
                  </a:lnTo>
                  <a:cubicBezTo>
                    <a:pt x="33897" y="49203"/>
                    <a:pt x="34446" y="49335"/>
                    <a:pt x="34832" y="49699"/>
                  </a:cubicBezTo>
                  <a:lnTo>
                    <a:pt x="58663" y="72188"/>
                  </a:lnTo>
                  <a:cubicBezTo>
                    <a:pt x="59538" y="73013"/>
                    <a:pt x="60980" y="72520"/>
                    <a:pt x="61165" y="71331"/>
                  </a:cubicBezTo>
                  <a:lnTo>
                    <a:pt x="69471" y="17980"/>
                  </a:lnTo>
                  <a:cubicBezTo>
                    <a:pt x="65324" y="17457"/>
                    <a:pt x="61299" y="16537"/>
                    <a:pt x="57439" y="15259"/>
                  </a:cubicBezTo>
                  <a:lnTo>
                    <a:pt x="53286" y="48167"/>
                  </a:lnTo>
                  <a:cubicBezTo>
                    <a:pt x="53127" y="49427"/>
                    <a:pt x="51568" y="49926"/>
                    <a:pt x="50706" y="48993"/>
                  </a:cubicBezTo>
                  <a:lnTo>
                    <a:pt x="40059" y="37458"/>
                  </a:lnTo>
                  <a:cubicBezTo>
                    <a:pt x="39678" y="37045"/>
                    <a:pt x="39099" y="36881"/>
                    <a:pt x="38558" y="37033"/>
                  </a:cubicBezTo>
                  <a:lnTo>
                    <a:pt x="24564" y="40951"/>
                  </a:lnTo>
                  <a:cubicBezTo>
                    <a:pt x="23238" y="41322"/>
                    <a:pt x="22159" y="39857"/>
                    <a:pt x="22906" y="38701"/>
                  </a:cubicBezTo>
                  <a:lnTo>
                    <a:pt x="42666" y="8135"/>
                  </a:lnTo>
                  <a:cubicBezTo>
                    <a:pt x="39037" y="5765"/>
                    <a:pt x="35664" y="3037"/>
                    <a:pt x="32597" y="0"/>
                  </a:cubicBezTo>
                  <a:lnTo>
                    <a:pt x="204" y="56351"/>
                  </a:lnTo>
                  <a:cubicBezTo>
                    <a:pt x="-467" y="57518"/>
                    <a:pt x="625" y="58907"/>
                    <a:pt x="1917" y="58530"/>
                  </a:cubicBezTo>
                  <a:close/>
                </a:path>
              </a:pathLst>
            </a:custGeom>
            <a:grpFill/>
            <a:ln w="7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652180" y="5561861"/>
            <a:ext cx="1118299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i="1" dirty="0">
                <a:solidFill>
                  <a:srgbClr val="4747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Не требует использования закрытого и платного (проприетарное) ПО (Oracle, Windows и пр.)</a:t>
            </a:r>
          </a:p>
          <a:p>
            <a:r>
              <a:rPr lang="ru-RU" sz="1050" i="1" dirty="0">
                <a:solidFill>
                  <a:srgbClr val="4747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Минимальные  требования к рабочему месту</a:t>
            </a:r>
          </a:p>
          <a:p>
            <a:endParaRPr lang="ru-RU" sz="1050" i="1" dirty="0">
              <a:solidFill>
                <a:srgbClr val="47474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4873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78A47423-DBCE-473A-A5B9-1D0504AA1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8" imgH="499" progId="TCLayout.ActiveDocument.1">
                  <p:embed/>
                </p:oleObj>
              </mc:Choice>
              <mc:Fallback>
                <p:oleObj name="Слайд think-cell" r:id="rId3" imgW="498" imgH="499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78A47423-DBCE-473A-A5B9-1D0504AA1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Рисунок 4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7"/>
            <a:ext cx="12192000" cy="1075585"/>
          </a:xfrm>
          <a:prstGeom prst="rect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</p:pic>
      <p:sp>
        <p:nvSpPr>
          <p:cNvPr id="51" name="Rectangle 13"/>
          <p:cNvSpPr>
            <a:spLocks/>
          </p:cNvSpPr>
          <p:nvPr/>
        </p:nvSpPr>
        <p:spPr bwMode="auto">
          <a:xfrm>
            <a:off x="1033271" y="-53282"/>
            <a:ext cx="10558653" cy="936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r>
              <a:rPr lang="ru-RU" sz="2400" b="1" dirty="0">
                <a:solidFill>
                  <a:schemeClr val="bg1"/>
                </a:solidFill>
                <a:latin typeface="+mj-lt"/>
                <a:cs typeface="Rubik Bold" panose="02000604000000020004" pitchFamily="2" charset="-79"/>
              </a:rPr>
              <a:t>Преимущества «ОднаКасса»</a:t>
            </a:r>
          </a:p>
        </p:txBody>
      </p:sp>
      <p:pic>
        <p:nvPicPr>
          <p:cNvPr id="16" name="Рисунок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6"/>
            <a:ext cx="1033272" cy="1148241"/>
          </a:xfrm>
          <a:prstGeom prst="rect">
            <a:avLst/>
          </a:prstGeom>
        </p:spPr>
      </p:pic>
      <p:graphicFrame>
        <p:nvGraphicFramePr>
          <p:cNvPr id="84" name="Таблица 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5661091"/>
              </p:ext>
            </p:extLst>
          </p:nvPr>
        </p:nvGraphicFramePr>
        <p:xfrm>
          <a:off x="342457" y="1038822"/>
          <a:ext cx="11539958" cy="5000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92023">
                  <a:extLst>
                    <a:ext uri="{9D8B030D-6E8A-4147-A177-3AD203B41FA5}">
                      <a16:colId xmlns:a16="http://schemas.microsoft.com/office/drawing/2014/main" val="1874350987"/>
                    </a:ext>
                  </a:extLst>
                </a:gridCol>
                <a:gridCol w="1859280">
                  <a:extLst>
                    <a:ext uri="{9D8B030D-6E8A-4147-A177-3AD203B41FA5}">
                      <a16:colId xmlns:a16="http://schemas.microsoft.com/office/drawing/2014/main" val="143375284"/>
                    </a:ext>
                  </a:extLst>
                </a:gridCol>
                <a:gridCol w="3388655">
                  <a:extLst>
                    <a:ext uri="{9D8B030D-6E8A-4147-A177-3AD203B41FA5}">
                      <a16:colId xmlns:a16="http://schemas.microsoft.com/office/drawing/2014/main" val="2248266119"/>
                    </a:ext>
                  </a:extLst>
                </a:gridCol>
              </a:tblGrid>
              <a:tr h="240688"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baseline="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" panose="00000800000000000000" pitchFamily="2" charset="-79"/>
                        </a:rPr>
                        <a:t>Виды работ/услуг/затрат</a:t>
                      </a:r>
                    </a:p>
                  </a:txBody>
                  <a:tcPr>
                    <a:lnB w="38100" cmpd="sng"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baseline="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" panose="00000800000000000000" pitchFamily="2" charset="-79"/>
                        </a:rPr>
                        <a:t>ОднаКасса</a:t>
                      </a:r>
                    </a:p>
                  </a:txBody>
                  <a:tcPr>
                    <a:lnB w="38100" cmpd="sng"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baseline="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" panose="00000800000000000000" pitchFamily="2" charset="-79"/>
                        </a:rPr>
                        <a:t>Эффект для Автовокзала</a:t>
                      </a:r>
                    </a:p>
                  </a:txBody>
                  <a:tcPr>
                    <a:lnB w="38100" cmpd="sng"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845877"/>
                  </a:ext>
                </a:extLst>
              </a:tr>
              <a:tr h="1042980">
                <a:tc>
                  <a:txBody>
                    <a:bodyPr/>
                    <a:lstStyle/>
                    <a:p>
                      <a:endParaRPr lang="ru-RU" sz="1000" b="1" dirty="0">
                        <a:solidFill>
                          <a:srgbClr val="474747"/>
                        </a:solidFill>
                        <a:latin typeface="+mn-lt"/>
                        <a:cs typeface="Rubik Light" panose="00000400000000000000" pitchFamily="2" charset="-79"/>
                      </a:endParaRPr>
                    </a:p>
                    <a:p>
                      <a:endParaRPr lang="ru-RU" sz="1000" b="1" dirty="0">
                        <a:solidFill>
                          <a:srgbClr val="474747"/>
                        </a:solidFill>
                        <a:latin typeface="+mn-lt"/>
                        <a:cs typeface="Rubik Light" panose="00000400000000000000" pitchFamily="2" charset="-79"/>
                      </a:endParaRPr>
                    </a:p>
                    <a:p>
                      <a:r>
                        <a:rPr lang="ru-RU" sz="1000" b="1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Размещение базы данных</a:t>
                      </a:r>
                      <a:endParaRPr lang="ru-RU" sz="1000" b="1" kern="1200" baseline="0" dirty="0">
                        <a:solidFill>
                          <a:srgbClr val="474747"/>
                        </a:solidFill>
                        <a:latin typeface="+mn-lt"/>
                        <a:ea typeface="+mn-ea"/>
                        <a:cs typeface="Rubik" panose="00000800000000000000" pitchFamily="2" charset="-79"/>
                      </a:endParaRPr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Локальные сервера</a:t>
                      </a:r>
                    </a:p>
                    <a:p>
                      <a:pPr algn="ctr"/>
                      <a:endParaRPr lang="ru-RU" sz="1000" dirty="0">
                        <a:solidFill>
                          <a:srgbClr val="474747"/>
                        </a:solidFill>
                        <a:latin typeface="+mn-lt"/>
                        <a:cs typeface="Rubik Light" panose="00000400000000000000" pitchFamily="2" charset="-79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ЦОД* ОднаКасса</a:t>
                      </a:r>
                    </a:p>
                    <a:p>
                      <a:pPr algn="ctr"/>
                      <a:endParaRPr lang="ru-RU" sz="1000" dirty="0">
                        <a:solidFill>
                          <a:srgbClr val="474747"/>
                        </a:solidFill>
                        <a:latin typeface="+mn-lt"/>
                        <a:cs typeface="Rubik Light" panose="00000400000000000000" pitchFamily="2" charset="-79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i="1" dirty="0">
                          <a:solidFill>
                            <a:srgbClr val="47474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Центр обработки данных</a:t>
                      </a:r>
                    </a:p>
                    <a:p>
                      <a:pPr algn="ctr"/>
                      <a:endParaRPr lang="ru-RU" sz="1000" dirty="0">
                        <a:solidFill>
                          <a:srgbClr val="474747"/>
                        </a:solidFill>
                        <a:latin typeface="+mn-lt"/>
                        <a:cs typeface="Rubik Light" panose="00000400000000000000" pitchFamily="2" charset="-79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Без изменений</a:t>
                      </a:r>
                    </a:p>
                    <a:p>
                      <a:pPr algn="ctr"/>
                      <a:endParaRPr lang="ru-RU" sz="1000" kern="1200" dirty="0">
                        <a:solidFill>
                          <a:srgbClr val="474747"/>
                        </a:solidFill>
                        <a:latin typeface="+mn-lt"/>
                        <a:ea typeface="+mn-ea"/>
                        <a:cs typeface="Rubik Light" panose="00000400000000000000" pitchFamily="2" charset="-79"/>
                      </a:endParaRPr>
                    </a:p>
                    <a:p>
                      <a:pPr algn="ctr"/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Экономия затрат на обслуживание серверов </a:t>
                      </a:r>
                      <a:r>
                        <a:rPr lang="en-US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(</a:t>
                      </a:r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электричество, лицензии, ремонт/обслуживание, ФОТ и т.д.) 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9493149"/>
                  </a:ext>
                </a:extLst>
              </a:tr>
              <a:tr h="561605">
                <a:tc>
                  <a:txBody>
                    <a:bodyPr/>
                    <a:lstStyle/>
                    <a:p>
                      <a:endParaRPr lang="ru-RU" sz="1000" b="1" dirty="0">
                        <a:solidFill>
                          <a:srgbClr val="474747"/>
                        </a:solidFill>
                        <a:latin typeface="+mn-lt"/>
                        <a:cs typeface="Rubik Light" panose="00000400000000000000" pitchFamily="2" charset="-79"/>
                      </a:endParaRPr>
                    </a:p>
                    <a:p>
                      <a:r>
                        <a:rPr lang="ru-RU" sz="1000" b="1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Лицензии</a:t>
                      </a:r>
                      <a:r>
                        <a:rPr lang="ru-RU" sz="1000" b="1" baseline="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 </a:t>
                      </a:r>
                      <a:r>
                        <a:rPr lang="en-US" sz="1000" b="1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Microsoft Windows </a:t>
                      </a:r>
                      <a:endParaRPr lang="ru-RU" sz="1000" b="1" baseline="0" dirty="0">
                        <a:solidFill>
                          <a:srgbClr val="474747"/>
                        </a:solidFill>
                        <a:latin typeface="+mn-lt"/>
                        <a:cs typeface="Rubik Light" panose="00000400000000000000" pitchFamily="2" charset="-79"/>
                      </a:endParaRPr>
                    </a:p>
                  </a:txBody>
                  <a:tcPr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Возможность</a:t>
                      </a:r>
                      <a:r>
                        <a:rPr lang="ru-RU" sz="1000" baseline="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 настройки р</a:t>
                      </a:r>
                      <a:r>
                        <a:rPr lang="ru-RU" sz="100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абочих мест на ОС </a:t>
                      </a:r>
                      <a:r>
                        <a:rPr lang="en-US" sz="100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Linux</a:t>
                      </a:r>
                      <a:endParaRPr lang="ru-RU" sz="1000" dirty="0">
                        <a:solidFill>
                          <a:srgbClr val="474747"/>
                        </a:solidFill>
                        <a:latin typeface="+mn-lt"/>
                        <a:cs typeface="Rubik Light" panose="00000400000000000000" pitchFamily="2" charset="-79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Экономия затрат на покупку лицензий Microsoft Windows: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8434796"/>
                  </a:ext>
                </a:extLst>
              </a:tr>
              <a:tr h="240688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baseline="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" panose="00000800000000000000" pitchFamily="2" charset="-79"/>
                        </a:rPr>
                        <a:t>Актуальный функционал АВ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9502296"/>
                  </a:ext>
                </a:extLst>
              </a:tr>
              <a:tr h="281588"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ru-RU" sz="1000" b="0" baseline="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расписание и онлайн-табло в зале ожидания АВ с автоматическим обновлением</a:t>
                      </a:r>
                    </a:p>
                  </a:txBody>
                  <a:tcPr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+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>
                        <a:solidFill>
                          <a:srgbClr val="474747"/>
                        </a:solidFill>
                        <a:latin typeface="+mn-lt"/>
                        <a:cs typeface="Rubik Light" panose="00000400000000000000" pitchFamily="2" charset="-79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>
                        <a:solidFill>
                          <a:srgbClr val="474747"/>
                        </a:solidFill>
                        <a:latin typeface="+mn-lt"/>
                        <a:cs typeface="Rubik Light" panose="00000400000000000000" pitchFamily="2" charset="-79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>
                        <a:solidFill>
                          <a:srgbClr val="474747"/>
                        </a:solidFill>
                        <a:latin typeface="+mn-lt"/>
                        <a:cs typeface="Rubik Light" panose="00000400000000000000" pitchFamily="2" charset="-79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Актуальные </a:t>
                      </a:r>
                      <a:r>
                        <a:rPr lang="ru-RU" sz="1000" baseline="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 функции и услуги АВ без дополнительных затрат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5404396"/>
                  </a:ext>
                </a:extLst>
              </a:tr>
              <a:tr h="240688">
                <a:tc>
                  <a:txBody>
                    <a:bodyPr/>
                    <a:lstStyle/>
                    <a:p>
                      <a:pPr marL="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печать багажной бирки</a:t>
                      </a:r>
                    </a:p>
                  </a:txBody>
                  <a:tcPr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+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3230568"/>
                  </a:ext>
                </a:extLst>
              </a:tr>
              <a:tr h="240688">
                <a:tc>
                  <a:txBody>
                    <a:bodyPr/>
                    <a:lstStyle/>
                    <a:p>
                      <a:pPr marL="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онлайн-экран для пассажира</a:t>
                      </a:r>
                    </a:p>
                  </a:txBody>
                  <a:tcPr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+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3054473"/>
                  </a:ext>
                </a:extLst>
              </a:tr>
              <a:tr h="296697">
                <a:tc>
                  <a:txBody>
                    <a:bodyPr/>
                    <a:lstStyle/>
                    <a:p>
                      <a:pPr marL="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аудио-информатор </a:t>
                      </a:r>
                    </a:p>
                  </a:txBody>
                  <a:tcPr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+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1649207"/>
                  </a:ext>
                </a:extLst>
              </a:tr>
              <a:tr h="299103">
                <a:tc>
                  <a:txBody>
                    <a:bodyPr/>
                    <a:lstStyle/>
                    <a:p>
                      <a:pPr marL="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передача данных в АЦБПДП</a:t>
                      </a:r>
                    </a:p>
                  </a:txBody>
                  <a:tcPr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+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3860744"/>
                  </a:ext>
                </a:extLst>
              </a:tr>
              <a:tr h="3100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Онлайн-продажа</a:t>
                      </a:r>
                      <a:r>
                        <a:rPr lang="ru-RU" sz="1000" b="1" baseline="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 билетов на сайте и в мобильном приложении АВ</a:t>
                      </a:r>
                      <a:r>
                        <a:rPr lang="ru-RU" sz="1000" baseline="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:</a:t>
                      </a:r>
                      <a:endParaRPr lang="ru-RU" sz="1000" dirty="0">
                        <a:solidFill>
                          <a:srgbClr val="474747"/>
                        </a:solidFill>
                        <a:latin typeface="+mn-lt"/>
                        <a:cs typeface="Rubik Light" panose="00000400000000000000" pitchFamily="2" charset="-79"/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rgbClr val="474747"/>
                        </a:solidFill>
                        <a:latin typeface="+mn-lt"/>
                        <a:ea typeface="+mn-ea"/>
                        <a:cs typeface="Rubik Light" panose="00000400000000000000" pitchFamily="2" charset="-79"/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rgbClr val="474747"/>
                        </a:solidFill>
                        <a:latin typeface="+mn-lt"/>
                        <a:ea typeface="+mn-ea"/>
                        <a:cs typeface="Rubik Light" panose="00000400000000000000" pitchFamily="2" charset="-79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5822011"/>
                  </a:ext>
                </a:extLst>
              </a:tr>
              <a:tr h="259864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организация онлайн-продаж на сайте АВ, запуск мобильного приложения (IOS,</a:t>
                      </a:r>
                      <a:r>
                        <a:rPr lang="ru-RU" sz="1000" baseline="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 </a:t>
                      </a:r>
                      <a:r>
                        <a:rPr lang="ru-RU" sz="100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Android) </a:t>
                      </a:r>
                    </a:p>
                  </a:txBody>
                  <a:tcPr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+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rgbClr val="474747"/>
                        </a:solidFill>
                        <a:latin typeface="+mn-lt"/>
                        <a:ea typeface="+mn-ea"/>
                        <a:cs typeface="Rubik Light" panose="00000400000000000000" pitchFamily="2" charset="-79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Онлайн-продажи</a:t>
                      </a:r>
                      <a:r>
                        <a:rPr lang="ru-RU" sz="1000" kern="1200" baseline="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 без дополнительных затрат</a:t>
                      </a:r>
                      <a:endParaRPr lang="ru-RU" sz="1000" kern="1200" dirty="0">
                        <a:solidFill>
                          <a:srgbClr val="474747"/>
                        </a:solidFill>
                        <a:latin typeface="+mn-lt"/>
                        <a:ea typeface="+mn-ea"/>
                        <a:cs typeface="Rubik Light" panose="00000400000000000000" pitchFamily="2" charset="-79"/>
                      </a:endParaRP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7396142"/>
                  </a:ext>
                </a:extLst>
              </a:tr>
              <a:tr h="284966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00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расписание и его автоматическое обновление на сайте АВ</a:t>
                      </a:r>
                    </a:p>
                  </a:txBody>
                  <a:tcPr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+</a:t>
                      </a:r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307571"/>
                  </a:ext>
                </a:extLst>
              </a:tr>
              <a:tr h="2918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baseline="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Продажи в кассах билетов других АВ, Партнёров</a:t>
                      </a:r>
                      <a:r>
                        <a:rPr lang="ru-RU" sz="1000" baseline="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 (обратные билеты, другие направления)</a:t>
                      </a:r>
                      <a:endParaRPr lang="ru-RU" sz="1000" dirty="0">
                        <a:solidFill>
                          <a:srgbClr val="474747"/>
                        </a:solidFill>
                        <a:latin typeface="+mn-lt"/>
                        <a:cs typeface="Rubik Light" panose="00000400000000000000" pitchFamily="2" charset="-79"/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+</a:t>
                      </a: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Дополнительная</a:t>
                      </a:r>
                      <a:r>
                        <a:rPr lang="ru-RU" sz="1000" kern="1200" baseline="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 прибыль АВ</a:t>
                      </a:r>
                      <a:endParaRPr lang="ru-RU" sz="1000" kern="1200" dirty="0">
                        <a:solidFill>
                          <a:srgbClr val="474747"/>
                        </a:solidFill>
                        <a:latin typeface="+mn-lt"/>
                        <a:ea typeface="+mn-ea"/>
                        <a:cs typeface="Rubik Light" panose="00000400000000000000" pitchFamily="2" charset="-79"/>
                      </a:endParaRPr>
                    </a:p>
                  </a:txBody>
                  <a:tcP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5877763"/>
                  </a:ext>
                </a:extLst>
              </a:tr>
              <a:tr h="2918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Интеграция с разработчиками</a:t>
                      </a:r>
                      <a:r>
                        <a:rPr lang="ru-RU" sz="1000" baseline="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 ПО (КВЦ, Артмарк), агрегаторами (</a:t>
                      </a:r>
                      <a:r>
                        <a:rPr lang="en-US" sz="1000" baseline="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Busfor</a:t>
                      </a:r>
                      <a:r>
                        <a:rPr lang="ru-RU" sz="1000" baseline="0" dirty="0">
                          <a:solidFill>
                            <a:srgbClr val="474747"/>
                          </a:solidFill>
                          <a:latin typeface="+mn-lt"/>
                          <a:cs typeface="Rubik Light" panose="00000400000000000000" pitchFamily="2" charset="-79"/>
                        </a:rPr>
                        <a:t>, ТуТу, Яндекс.Путешествия и др.)</a:t>
                      </a:r>
                      <a:endParaRPr lang="ru-RU" sz="1000" dirty="0">
                        <a:solidFill>
                          <a:srgbClr val="474747"/>
                        </a:solidFill>
                        <a:latin typeface="+mn-lt"/>
                        <a:cs typeface="Rubik Light" panose="00000400000000000000" pitchFamily="2" charset="-79"/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Простое открытое </a:t>
                      </a:r>
                      <a:r>
                        <a:rPr lang="en-US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API</a:t>
                      </a:r>
                      <a:endParaRPr lang="ru-RU" sz="1000" kern="1200" dirty="0">
                        <a:solidFill>
                          <a:srgbClr val="474747"/>
                        </a:solidFill>
                        <a:latin typeface="+mn-lt"/>
                        <a:ea typeface="+mn-ea"/>
                        <a:cs typeface="Rubik Light" panose="00000400000000000000" pitchFamily="2" charset="-79"/>
                      </a:endParaRPr>
                    </a:p>
                  </a:txBody>
                  <a:tcP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Широкая агентская сеть</a:t>
                      </a:r>
                      <a:r>
                        <a:rPr lang="en-US" sz="1000" kern="1200" baseline="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 </a:t>
                      </a:r>
                      <a:r>
                        <a:rPr lang="ru-RU" sz="1000" kern="1200" baseline="0" dirty="0">
                          <a:solidFill>
                            <a:srgbClr val="474747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– экономия затрат на содержание касс</a:t>
                      </a:r>
                      <a:endParaRPr lang="ru-RU" sz="1000" kern="1200" dirty="0">
                        <a:solidFill>
                          <a:srgbClr val="474747"/>
                        </a:solidFill>
                        <a:latin typeface="+mn-lt"/>
                        <a:ea typeface="+mn-ea"/>
                        <a:cs typeface="Rubik Light" panose="00000400000000000000" pitchFamily="2" charset="-79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9683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22352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TextBox 102">
            <a:extLst>
              <a:ext uri="{FF2B5EF4-FFF2-40B4-BE49-F238E27FC236}">
                <a16:creationId xmlns:a16="http://schemas.microsoft.com/office/drawing/2014/main" id="{21C6D3E8-F27D-4944-8787-9DAB49BB32EB}"/>
              </a:ext>
            </a:extLst>
          </p:cNvPr>
          <p:cNvSpPr txBox="1"/>
          <p:nvPr/>
        </p:nvSpPr>
        <p:spPr>
          <a:xfrm>
            <a:off x="9221278" y="1313741"/>
            <a:ext cx="252479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474747"/>
                </a:solidFill>
              </a:rPr>
              <a:t>Администрирование</a:t>
            </a:r>
          </a:p>
          <a:p>
            <a:endParaRPr lang="ru-RU" sz="1100" b="1" dirty="0">
              <a:solidFill>
                <a:srgbClr val="474747"/>
              </a:solidFill>
            </a:endParaRP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формирование и управление тарифами</a:t>
            </a: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управление фин. условиями  работы с перевозчиками и агентами</a:t>
            </a: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Контроль выгрузки данных в АЦБПДП</a:t>
            </a: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гибкая ролевая модель</a:t>
            </a: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полная отчетность по предприятию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C91AA1E8-8C9B-4C3B-96B6-3CA739D58F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6029" y="1724330"/>
            <a:ext cx="4986485" cy="3739864"/>
          </a:xfrm>
          <a:prstGeom prst="rect">
            <a:avLst/>
          </a:prstGeom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78A47423-DBCE-473A-A5B9-1D0504AA1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6472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98" imgH="499" progId="TCLayout.ActiveDocument.1">
                  <p:embed/>
                </p:oleObj>
              </mc:Choice>
              <mc:Fallback>
                <p:oleObj name="Слайд think-cell" r:id="rId4" imgW="498" imgH="499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78A47423-DBCE-473A-A5B9-1D0504AA1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Рисунок 4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7"/>
            <a:ext cx="12192000" cy="1075585"/>
          </a:xfrm>
          <a:prstGeom prst="rect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</p:pic>
      <p:sp>
        <p:nvSpPr>
          <p:cNvPr id="51" name="Rectangle 13"/>
          <p:cNvSpPr>
            <a:spLocks/>
          </p:cNvSpPr>
          <p:nvPr/>
        </p:nvSpPr>
        <p:spPr bwMode="auto">
          <a:xfrm>
            <a:off x="1033271" y="-53282"/>
            <a:ext cx="10558653" cy="936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r>
              <a:rPr lang="ru-RU" sz="2400" b="1" dirty="0">
                <a:solidFill>
                  <a:schemeClr val="bg1"/>
                </a:solidFill>
                <a:latin typeface="+mj-lt"/>
                <a:cs typeface="Rubik Bold" panose="02000604000000020004" pitchFamily="2" charset="-79"/>
              </a:rPr>
              <a:t>Автоматизация управления автовокзалом и продажей билетов (1/1)</a:t>
            </a:r>
          </a:p>
        </p:txBody>
      </p:sp>
      <p:pic>
        <p:nvPicPr>
          <p:cNvPr id="16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6"/>
            <a:ext cx="1033272" cy="1148241"/>
          </a:xfrm>
          <a:prstGeom prst="rect">
            <a:avLst/>
          </a:prstGeom>
        </p:spPr>
      </p:pic>
      <p:sp>
        <p:nvSpPr>
          <p:cNvPr id="98" name="TextBox 97">
            <a:extLst>
              <a:ext uri="{FF2B5EF4-FFF2-40B4-BE49-F238E27FC236}">
                <a16:creationId xmlns:a16="http://schemas.microsoft.com/office/drawing/2014/main" id="{812434BD-38CD-49EE-A617-5D845AC5AF9B}"/>
              </a:ext>
            </a:extLst>
          </p:cNvPr>
          <p:cNvSpPr txBox="1"/>
          <p:nvPr/>
        </p:nvSpPr>
        <p:spPr>
          <a:xfrm>
            <a:off x="3238108" y="1278284"/>
            <a:ext cx="174999" cy="382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7891E9DA-1AFF-485F-B225-3FE94AA3F2D0}"/>
              </a:ext>
            </a:extLst>
          </p:cNvPr>
          <p:cNvSpPr txBox="1"/>
          <p:nvPr/>
        </p:nvSpPr>
        <p:spPr>
          <a:xfrm>
            <a:off x="3381555" y="1313741"/>
            <a:ext cx="2529269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474747"/>
                </a:solidFill>
              </a:rPr>
              <a:t>Кассовые услуги </a:t>
            </a:r>
          </a:p>
          <a:p>
            <a:endParaRPr lang="ru-RU" sz="1100" b="1" dirty="0">
              <a:solidFill>
                <a:srgbClr val="474747"/>
              </a:solidFill>
            </a:endParaRP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продажа и возврат билетов своего и других АВ, Партнёров</a:t>
            </a: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бронирование билетов</a:t>
            </a: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продажа доп услуг, багажная бирка</a:t>
            </a: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доп. функционал исходя их потребностей Заказчика: абонементы, билет с «открытой» датой, база льготных пассажиров и т.п.</a:t>
            </a: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отчёты ККМ</a:t>
            </a:r>
          </a:p>
          <a:p>
            <a:endParaRPr lang="ru-RU" sz="1100" dirty="0">
              <a:solidFill>
                <a:srgbClr val="474747"/>
              </a:solidFill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3DBDCC13-7C77-4B12-AE01-AA9A549708EA}"/>
              </a:ext>
            </a:extLst>
          </p:cNvPr>
          <p:cNvSpPr txBox="1"/>
          <p:nvPr/>
        </p:nvSpPr>
        <p:spPr>
          <a:xfrm>
            <a:off x="5975429" y="1278284"/>
            <a:ext cx="174999" cy="382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2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7F38755F-865E-49FD-B064-6273C9CA063C}"/>
              </a:ext>
            </a:extLst>
          </p:cNvPr>
          <p:cNvSpPr txBox="1"/>
          <p:nvPr/>
        </p:nvSpPr>
        <p:spPr>
          <a:xfrm>
            <a:off x="6160467" y="1313741"/>
            <a:ext cx="2821207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474747"/>
                </a:solidFill>
              </a:rPr>
              <a:t>Диспетчеризация и управление НСИ*</a:t>
            </a:r>
          </a:p>
          <a:p>
            <a:endParaRPr lang="ru-RU" sz="1100" b="1" dirty="0">
              <a:solidFill>
                <a:srgbClr val="474747"/>
              </a:solidFill>
            </a:endParaRP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управление маршрутами, рейсами (в том числе заказными и транзитными), расписанием</a:t>
            </a: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управление продажами</a:t>
            </a: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управление НСИ и справочниками (базой ТС и водителей; схемой салона ТС и т.п.) </a:t>
            </a: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работа с посадочными ведомостями и водителями</a:t>
            </a:r>
          </a:p>
          <a:p>
            <a:endParaRPr lang="ru-RU" sz="1100" dirty="0">
              <a:solidFill>
                <a:srgbClr val="474747"/>
              </a:solidFill>
            </a:endParaRPr>
          </a:p>
          <a:p>
            <a:endParaRPr lang="ru-RU" sz="1100" dirty="0">
              <a:solidFill>
                <a:srgbClr val="474747"/>
              </a:solidFill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118D4AB0-31FA-4A68-8208-11204021BBC6}"/>
              </a:ext>
            </a:extLst>
          </p:cNvPr>
          <p:cNvSpPr txBox="1"/>
          <p:nvPr/>
        </p:nvSpPr>
        <p:spPr>
          <a:xfrm>
            <a:off x="9029218" y="1278284"/>
            <a:ext cx="179121" cy="382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3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2C840F33-88EF-4091-A39D-5D5CB14595F1}"/>
              </a:ext>
            </a:extLst>
          </p:cNvPr>
          <p:cNvSpPr txBox="1"/>
          <p:nvPr/>
        </p:nvSpPr>
        <p:spPr>
          <a:xfrm>
            <a:off x="3240931" y="4060620"/>
            <a:ext cx="163546" cy="382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4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7335D54B-BDDA-4DBC-8F09-C997B43A4574}"/>
              </a:ext>
            </a:extLst>
          </p:cNvPr>
          <p:cNvSpPr txBox="1"/>
          <p:nvPr/>
        </p:nvSpPr>
        <p:spPr>
          <a:xfrm>
            <a:off x="3413107" y="4094358"/>
            <a:ext cx="2616303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474747"/>
                </a:solidFill>
              </a:rPr>
              <a:t>Финансы и отчетность</a:t>
            </a:r>
          </a:p>
          <a:p>
            <a:endParaRPr lang="ru-RU" sz="1100" b="1" dirty="0">
              <a:solidFill>
                <a:srgbClr val="474747"/>
              </a:solidFill>
            </a:endParaRP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кассовые отчеты (продажи, возвраты, эквайринг и т.д.)</a:t>
            </a: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отчеты по продажам АВ, по маршрутам и рейсам, по перевозчикам,  по наполняемости, по пассажиропотоку и т.д.</a:t>
            </a: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формирование отчетов по исходя из потребностей Заказчика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100" dirty="0">
              <a:solidFill>
                <a:srgbClr val="474747"/>
              </a:solidFill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8E81DA22-7FC8-4729-8BE6-60A17B1B9ADA}"/>
              </a:ext>
            </a:extLst>
          </p:cNvPr>
          <p:cNvSpPr txBox="1"/>
          <p:nvPr/>
        </p:nvSpPr>
        <p:spPr>
          <a:xfrm>
            <a:off x="9221279" y="4051228"/>
            <a:ext cx="2654810" cy="6848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474747"/>
                </a:solidFill>
              </a:rPr>
              <a:t>Интеграция с внешними системами:</a:t>
            </a:r>
          </a:p>
          <a:p>
            <a:pPr>
              <a:lnSpc>
                <a:spcPct val="150000"/>
              </a:lnSpc>
            </a:pPr>
            <a:r>
              <a:rPr lang="ru-RU" sz="1100" b="1" dirty="0">
                <a:solidFill>
                  <a:srgbClr val="474747"/>
                </a:solidFill>
              </a:rPr>
              <a:t> </a:t>
            </a:r>
            <a:r>
              <a:rPr lang="ru-RU" sz="1100" dirty="0">
                <a:solidFill>
                  <a:srgbClr val="474747"/>
                </a:solidFill>
              </a:rPr>
              <a:t>1С, АЦБПДП и т.д.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F376E04C-1A21-4CDC-9323-E67DAAA49418}"/>
              </a:ext>
            </a:extLst>
          </p:cNvPr>
          <p:cNvSpPr txBox="1"/>
          <p:nvPr/>
        </p:nvSpPr>
        <p:spPr>
          <a:xfrm>
            <a:off x="5986882" y="4060620"/>
            <a:ext cx="163546" cy="382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376E04C-1A21-4CDC-9323-E67DAAA49418}"/>
              </a:ext>
            </a:extLst>
          </p:cNvPr>
          <p:cNvSpPr txBox="1"/>
          <p:nvPr/>
        </p:nvSpPr>
        <p:spPr>
          <a:xfrm>
            <a:off x="9044793" y="4060620"/>
            <a:ext cx="1635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6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E81DA22-7FC8-4729-8BE6-60A17B1B9ADA}"/>
              </a:ext>
            </a:extLst>
          </p:cNvPr>
          <p:cNvSpPr txBox="1"/>
          <p:nvPr/>
        </p:nvSpPr>
        <p:spPr>
          <a:xfrm>
            <a:off x="6160467" y="4094358"/>
            <a:ext cx="2615621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474747"/>
                </a:solidFill>
              </a:rPr>
              <a:t>Онлайн и агентские Продажи</a:t>
            </a:r>
          </a:p>
          <a:p>
            <a:endParaRPr lang="ru-RU" sz="1100" b="1" dirty="0">
              <a:solidFill>
                <a:srgbClr val="474747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модуля продаж на сайте АВ в цветовой гамме Автовокзал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000000"/>
                </a:solidFill>
                <a:latin typeface="Exo 2" panose="00000500000000000000" pitchFamily="2" charset="-52"/>
              </a:rPr>
              <a:t>мобильное приложение (</a:t>
            </a:r>
            <a:r>
              <a:rPr lang="en-US" sz="1100" dirty="0">
                <a:solidFill>
                  <a:srgbClr val="000000"/>
                </a:solidFill>
                <a:latin typeface="Exo 2" panose="00000500000000000000" pitchFamily="2" charset="-52"/>
              </a:rPr>
              <a:t>Android</a:t>
            </a:r>
            <a:r>
              <a:rPr lang="ru-RU" sz="1100" dirty="0">
                <a:solidFill>
                  <a:srgbClr val="000000"/>
                </a:solidFill>
                <a:latin typeface="Exo 2" panose="00000500000000000000" pitchFamily="2" charset="-52"/>
              </a:rPr>
              <a:t>, </a:t>
            </a:r>
            <a:r>
              <a:rPr lang="en-US" sz="1100" dirty="0">
                <a:solidFill>
                  <a:srgbClr val="000000"/>
                </a:solidFill>
                <a:latin typeface="Exo 2" panose="00000500000000000000" pitchFamily="2" charset="-52"/>
              </a:rPr>
              <a:t>iOS)</a:t>
            </a:r>
            <a:r>
              <a:rPr lang="ru-RU" sz="1100" dirty="0">
                <a:solidFill>
                  <a:srgbClr val="000000"/>
                </a:solidFill>
                <a:latin typeface="Exo 2" panose="00000500000000000000" pitchFamily="2" charset="-52"/>
              </a:rPr>
              <a:t>, оформленное в цветовой гамме Автовокзала</a:t>
            </a:r>
            <a:endParaRPr lang="ru-RU" sz="1100" dirty="0">
              <a:solidFill>
                <a:srgbClr val="474747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100" dirty="0">
                <a:solidFill>
                  <a:srgbClr val="474747"/>
                </a:solidFill>
              </a:rPr>
              <a:t>онлайн-продажи в агентской сети (Яндекс, Автобус, ТуТу, Busfor, Е-траффик и т.д.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ru-RU" sz="1100" dirty="0">
              <a:solidFill>
                <a:srgbClr val="474747"/>
              </a:solidFill>
            </a:endParaRPr>
          </a:p>
          <a:p>
            <a:endParaRPr lang="ru-RU" sz="1100" dirty="0">
              <a:solidFill>
                <a:srgbClr val="474747"/>
              </a:solidFill>
            </a:endParaRPr>
          </a:p>
          <a:p>
            <a:endParaRPr lang="ru-RU" sz="1100" dirty="0">
              <a:solidFill>
                <a:srgbClr val="474747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376E04C-1A21-4CDC-9323-E67DAAA49418}"/>
              </a:ext>
            </a:extLst>
          </p:cNvPr>
          <p:cNvSpPr txBox="1"/>
          <p:nvPr/>
        </p:nvSpPr>
        <p:spPr>
          <a:xfrm>
            <a:off x="9044793" y="4909865"/>
            <a:ext cx="1635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7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E81DA22-7FC8-4729-8BE6-60A17B1B9ADA}"/>
              </a:ext>
            </a:extLst>
          </p:cNvPr>
          <p:cNvSpPr txBox="1"/>
          <p:nvPr/>
        </p:nvSpPr>
        <p:spPr>
          <a:xfrm>
            <a:off x="9221278" y="4875361"/>
            <a:ext cx="2466688" cy="8227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100" b="1" dirty="0">
                <a:solidFill>
                  <a:srgbClr val="474747"/>
                </a:solidFill>
              </a:rPr>
              <a:t>Дополнительный функционал</a:t>
            </a:r>
          </a:p>
          <a:p>
            <a:pPr>
              <a:lnSpc>
                <a:spcPct val="150000"/>
              </a:lnSpc>
            </a:pPr>
            <a:r>
              <a:rPr lang="ru-RU" sz="1100" dirty="0">
                <a:solidFill>
                  <a:srgbClr val="474747"/>
                </a:solidFill>
              </a:rPr>
              <a:t>исходя из потребностей Заказчика</a:t>
            </a:r>
          </a:p>
          <a:p>
            <a:pPr>
              <a:lnSpc>
                <a:spcPct val="150000"/>
              </a:lnSpc>
            </a:pPr>
            <a:endParaRPr lang="ru-RU" sz="1100" dirty="0">
              <a:solidFill>
                <a:srgbClr val="474747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28227" y="6282504"/>
            <a:ext cx="309251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i="1" dirty="0">
                <a:solidFill>
                  <a:srgbClr val="47474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НСИ – нормативно-справочная информация</a:t>
            </a:r>
          </a:p>
        </p:txBody>
      </p:sp>
    </p:spTree>
    <p:extLst>
      <p:ext uri="{BB962C8B-B14F-4D97-AF65-F5344CB8AC3E}">
        <p14:creationId xmlns:p14="http://schemas.microsoft.com/office/powerpoint/2010/main" val="1151999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78A47423-DBCE-473A-A5B9-1D0504AA1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654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8" imgH="499" progId="TCLayout.ActiveDocument.1">
                  <p:embed/>
                </p:oleObj>
              </mc:Choice>
              <mc:Fallback>
                <p:oleObj name="Слайд think-cell" r:id="rId3" imgW="498" imgH="499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78A47423-DBCE-473A-A5B9-1D0504AA1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Рисунок 4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7"/>
            <a:ext cx="12192000" cy="1075585"/>
          </a:xfrm>
          <a:prstGeom prst="rect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</p:pic>
      <p:pic>
        <p:nvPicPr>
          <p:cNvPr id="16" name="Рисунок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6"/>
            <a:ext cx="1033272" cy="1148241"/>
          </a:xfrm>
          <a:prstGeom prst="rect">
            <a:avLst/>
          </a:prstGeom>
        </p:spPr>
      </p:pic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352AC0B4-2BC4-4FFC-BCEF-07B463FACB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F604BA-1C00-7E46-AF3D-AA95551CD6AC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2" name="object 11">
            <a:extLst>
              <a:ext uri="{FF2B5EF4-FFF2-40B4-BE49-F238E27FC236}">
                <a16:creationId xmlns:a16="http://schemas.microsoft.com/office/drawing/2014/main" id="{0ECF1D10-243B-469C-BC3A-6E4374C0CC06}"/>
              </a:ext>
            </a:extLst>
          </p:cNvPr>
          <p:cNvSpPr/>
          <p:nvPr/>
        </p:nvSpPr>
        <p:spPr>
          <a:xfrm rot="1168770">
            <a:off x="6044677" y="5596661"/>
            <a:ext cx="588872" cy="904636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DF367FE-CE12-430C-87E9-63C999487210}"/>
              </a:ext>
            </a:extLst>
          </p:cNvPr>
          <p:cNvSpPr txBox="1"/>
          <p:nvPr/>
        </p:nvSpPr>
        <p:spPr>
          <a:xfrm>
            <a:off x="3838755" y="3960432"/>
            <a:ext cx="3320933" cy="2449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5080">
              <a:spcBef>
                <a:spcPts val="95"/>
              </a:spcBef>
              <a:spcAft>
                <a:spcPts val="1200"/>
              </a:spcAft>
              <a:defRPr/>
            </a:pPr>
            <a:r>
              <a:rPr lang="ru-RU" sz="1100" b="1" dirty="0">
                <a:solidFill>
                  <a:srgbClr val="474747"/>
                </a:solidFill>
                <a:sym typeface="Lato Light" charset="0"/>
              </a:rPr>
              <a:t>Мобильная касса</a:t>
            </a:r>
            <a:endParaRPr lang="ru-RU" sz="1100" dirty="0">
              <a:solidFill>
                <a:srgbClr val="474747"/>
              </a:solidFill>
            </a:endParaRPr>
          </a:p>
          <a:p>
            <a:pPr marL="179388" marR="5080" indent="-179388">
              <a:spcBef>
                <a:spcPts val="95"/>
              </a:spcBef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474747"/>
                </a:solidFill>
              </a:rPr>
              <a:t>организация продажи билетов</a:t>
            </a:r>
            <a:br>
              <a:rPr lang="ru-RU" sz="1100" dirty="0">
                <a:solidFill>
                  <a:srgbClr val="474747"/>
                </a:solidFill>
              </a:rPr>
            </a:br>
            <a:r>
              <a:rPr lang="ru-RU" sz="1100" dirty="0">
                <a:solidFill>
                  <a:srgbClr val="474747"/>
                </a:solidFill>
              </a:rPr>
              <a:t>вне кассовой зоны, в том числе в отсутствии сети интернет</a:t>
            </a:r>
          </a:p>
          <a:p>
            <a:pPr marL="179388" marR="5080" indent="-179388">
              <a:spcBef>
                <a:spcPts val="95"/>
              </a:spcBef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474747"/>
                </a:solidFill>
              </a:rPr>
              <a:t>продажа, возврат, аннулирования билета, в том числе с на межрегиональные рейсы с внесением данных пассажира</a:t>
            </a:r>
          </a:p>
          <a:p>
            <a:pPr marL="179388" marR="5080" indent="-179388">
              <a:spcBef>
                <a:spcPts val="95"/>
              </a:spcBef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474747"/>
                </a:solidFill>
              </a:rPr>
              <a:t>выбор маршрута, рейса, контроль наличия мест</a:t>
            </a:r>
          </a:p>
          <a:p>
            <a:pPr marL="179388" marR="5080" indent="-179388">
              <a:spcBef>
                <a:spcPts val="95"/>
              </a:spcBef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474747"/>
                </a:solidFill>
              </a:rPr>
              <a:t>полноценная ККМ</a:t>
            </a:r>
          </a:p>
          <a:p>
            <a:pPr>
              <a:lnSpc>
                <a:spcPts val="1600"/>
              </a:lnSpc>
            </a:pPr>
            <a:endParaRPr lang="ru-RU" sz="1100" spc="-10" dirty="0">
              <a:solidFill>
                <a:srgbClr val="474747"/>
              </a:solidFill>
              <a:cs typeface="Rubik Light" panose="00000400000000000000" pitchFamily="2" charset="-79"/>
            </a:endParaRPr>
          </a:p>
          <a:p>
            <a:pPr>
              <a:lnSpc>
                <a:spcPct val="150000"/>
              </a:lnSpc>
            </a:pPr>
            <a:endParaRPr lang="ru-RU" sz="1100" spc="-10" dirty="0">
              <a:solidFill>
                <a:srgbClr val="474747"/>
              </a:solidFill>
              <a:cs typeface="Rubik Light" panose="00000400000000000000" pitchFamily="2" charset="-79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419F4140-14D3-461D-B894-E07AE7E18FB3}"/>
              </a:ext>
            </a:extLst>
          </p:cNvPr>
          <p:cNvSpPr txBox="1"/>
          <p:nvPr/>
        </p:nvSpPr>
        <p:spPr>
          <a:xfrm>
            <a:off x="516636" y="3943180"/>
            <a:ext cx="3227228" cy="1746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5080">
              <a:lnSpc>
                <a:spcPts val="1600"/>
              </a:lnSpc>
              <a:spcBef>
                <a:spcPts val="95"/>
              </a:spcBef>
              <a:spcAft>
                <a:spcPts val="1200"/>
              </a:spcAft>
              <a:defRPr/>
            </a:pPr>
            <a:r>
              <a:rPr lang="ru-RU" sz="1100" b="1" dirty="0">
                <a:solidFill>
                  <a:srgbClr val="474747"/>
                </a:solidFill>
              </a:rPr>
              <a:t>Мобильное рабочее место Диспетчера</a:t>
            </a:r>
          </a:p>
          <a:p>
            <a:pPr marL="179388" marR="5080" indent="-179388">
              <a:spcBef>
                <a:spcPts val="95"/>
              </a:spcBef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474747"/>
                </a:solidFill>
              </a:rPr>
              <a:t>работа вне диспетчерского рабочего места с помощью планшета): актуализация статуса рейса: прибытие, отправка, задержка, отмена</a:t>
            </a:r>
          </a:p>
          <a:p>
            <a:pPr marL="179388" marR="5080" indent="-179388">
              <a:spcBef>
                <a:spcPts val="95"/>
              </a:spcBef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474747"/>
                </a:solidFill>
              </a:rPr>
              <a:t>работа с пассажирами: фиксация явки/неявки, пересадка</a:t>
            </a:r>
          </a:p>
          <a:p>
            <a:pPr>
              <a:lnSpc>
                <a:spcPct val="150000"/>
              </a:lnSpc>
            </a:pPr>
            <a:endParaRPr lang="ru-RU" sz="1100" dirty="0">
              <a:solidFill>
                <a:srgbClr val="474747"/>
              </a:solidFill>
              <a:latin typeface="Rubik Light" panose="00000400000000000000" pitchFamily="2" charset="-79"/>
              <a:cs typeface="Rubik Light" panose="00000400000000000000" pitchFamily="2" charset="-79"/>
            </a:endParaRPr>
          </a:p>
        </p:txBody>
      </p:sp>
      <p:sp>
        <p:nvSpPr>
          <p:cNvPr id="63" name="object 2">
            <a:extLst>
              <a:ext uri="{FF2B5EF4-FFF2-40B4-BE49-F238E27FC236}">
                <a16:creationId xmlns:a16="http://schemas.microsoft.com/office/drawing/2014/main" id="{BEF76B1A-EEE4-4E3A-8E63-16098D0EDD67}"/>
              </a:ext>
            </a:extLst>
          </p:cNvPr>
          <p:cNvSpPr/>
          <p:nvPr/>
        </p:nvSpPr>
        <p:spPr>
          <a:xfrm>
            <a:off x="10012311" y="1205023"/>
            <a:ext cx="1945084" cy="2655944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b="-17065"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306649A8-8165-42AF-950C-8064073139B3}"/>
              </a:ext>
            </a:extLst>
          </p:cNvPr>
          <p:cNvSpPr txBox="1"/>
          <p:nvPr/>
        </p:nvSpPr>
        <p:spPr>
          <a:xfrm>
            <a:off x="6214754" y="1423198"/>
            <a:ext cx="3096381" cy="19646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100" b="1" dirty="0">
                <a:solidFill>
                  <a:srgbClr val="474747"/>
                </a:solidFill>
              </a:rPr>
              <a:t>Расписание и Онлайн-табло Автовокзала</a:t>
            </a:r>
          </a:p>
          <a:p>
            <a:pPr marL="179388" marR="5080" indent="-179388">
              <a:spcBef>
                <a:spcPts val="95"/>
              </a:spcBef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474747"/>
                </a:solidFill>
              </a:rPr>
              <a:t>статичное автобусное расписание для пассажиров </a:t>
            </a:r>
          </a:p>
          <a:p>
            <a:pPr marL="179388" marR="5080" indent="-179388">
              <a:spcBef>
                <a:spcPts val="95"/>
              </a:spcBef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474747"/>
                </a:solidFill>
              </a:rPr>
              <a:t>онлайн-табло с отображение актуальной информации о статусе рейса,  марке и номере ТС, количество свободных мест, времени в пути и перроне отправления (отображение данных настраивается исходя из пожеланий Заказчика)</a:t>
            </a:r>
          </a:p>
          <a:p>
            <a:endParaRPr lang="ru-RU" sz="1100" dirty="0">
              <a:solidFill>
                <a:srgbClr val="474747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7537363" y="3934554"/>
            <a:ext cx="3540945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5080">
              <a:spcBef>
                <a:spcPts val="95"/>
              </a:spcBef>
              <a:defRPr/>
            </a:pPr>
            <a:r>
              <a:rPr lang="ru-RU" sz="1100" b="1" dirty="0">
                <a:solidFill>
                  <a:srgbClr val="474747"/>
                </a:solidFill>
              </a:rPr>
              <a:t>Расписание на сайте Автовокзала</a:t>
            </a:r>
          </a:p>
          <a:p>
            <a:pPr marR="5080">
              <a:spcBef>
                <a:spcPts val="95"/>
              </a:spcBef>
              <a:defRPr/>
            </a:pPr>
            <a:endParaRPr lang="ru-RU" sz="1100" dirty="0">
              <a:solidFill>
                <a:srgbClr val="474747"/>
              </a:solidFill>
            </a:endParaRPr>
          </a:p>
          <a:p>
            <a:pPr marL="179388" marR="5080" indent="-179388">
              <a:spcBef>
                <a:spcPts val="95"/>
              </a:spcBef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474747"/>
                </a:solidFill>
              </a:rPr>
              <a:t>актуальное расписание с указанием периодичности рейса, времени в пути и остановочных пунктов</a:t>
            </a:r>
          </a:p>
          <a:p>
            <a:pPr marL="179388" marR="5080" indent="-179388">
              <a:spcBef>
                <a:spcPts val="95"/>
              </a:spcBef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474747"/>
                </a:solidFill>
              </a:rPr>
              <a:t>расписание обратных рейсов</a:t>
            </a:r>
          </a:p>
          <a:p>
            <a:pPr>
              <a:lnSpc>
                <a:spcPct val="150000"/>
              </a:lnSpc>
            </a:pPr>
            <a:endParaRPr lang="ru-RU" sz="1100" dirty="0">
              <a:solidFill>
                <a:srgbClr val="474747"/>
              </a:solidFill>
              <a:latin typeface="Rubik Light" panose="00000400000000000000" pitchFamily="2" charset="-79"/>
              <a:cs typeface="Rubik Light" panose="00000400000000000000" pitchFamily="2" charset="-79"/>
            </a:endParaRPr>
          </a:p>
        </p:txBody>
      </p:sp>
      <p:grpSp>
        <p:nvGrpSpPr>
          <p:cNvPr id="67" name="Группа 66"/>
          <p:cNvGrpSpPr/>
          <p:nvPr/>
        </p:nvGrpSpPr>
        <p:grpSpPr>
          <a:xfrm>
            <a:off x="9250321" y="5090402"/>
            <a:ext cx="3094117" cy="1999837"/>
            <a:chOff x="5567420" y="3182910"/>
            <a:chExt cx="6859276" cy="4433393"/>
          </a:xfrm>
        </p:grpSpPr>
        <p:grpSp>
          <p:nvGrpSpPr>
            <p:cNvPr id="68" name="Группа 67"/>
            <p:cNvGrpSpPr/>
            <p:nvPr/>
          </p:nvGrpSpPr>
          <p:grpSpPr>
            <a:xfrm>
              <a:off x="5567420" y="3182910"/>
              <a:ext cx="6859276" cy="4379177"/>
              <a:chOff x="5567420" y="3182910"/>
              <a:chExt cx="6859276" cy="4379177"/>
            </a:xfrm>
          </p:grpSpPr>
          <p:sp>
            <p:nvSpPr>
              <p:cNvPr id="71" name="object 4"/>
              <p:cNvSpPr/>
              <p:nvPr/>
            </p:nvSpPr>
            <p:spPr>
              <a:xfrm>
                <a:off x="5567420" y="3182910"/>
                <a:ext cx="6859276" cy="4379177"/>
              </a:xfrm>
              <a:prstGeom prst="rect">
                <a:avLst/>
              </a:prstGeom>
              <a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pic>
            <p:nvPicPr>
              <p:cNvPr id="78" name="Рисунок 77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36128" y="3621198"/>
                <a:ext cx="5393458" cy="3607841"/>
              </a:xfrm>
              <a:prstGeom prst="rect">
                <a:avLst/>
              </a:prstGeom>
            </p:spPr>
          </p:pic>
        </p:grpSp>
        <p:sp>
          <p:nvSpPr>
            <p:cNvPr id="69" name="object 2"/>
            <p:cNvSpPr/>
            <p:nvPr/>
          </p:nvSpPr>
          <p:spPr>
            <a:xfrm>
              <a:off x="8482312" y="4560558"/>
              <a:ext cx="3944384" cy="3055745"/>
            </a:xfrm>
            <a:prstGeom prst="rect">
              <a:avLst/>
            </a:prstGeom>
            <a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70" name="Рисунок 69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7356" y="4909329"/>
              <a:ext cx="3120938" cy="2105336"/>
            </a:xfrm>
            <a:prstGeom prst="rect">
              <a:avLst/>
            </a:prstGeom>
          </p:spPr>
        </p:pic>
      </p:grpSp>
      <p:grpSp>
        <p:nvGrpSpPr>
          <p:cNvPr id="79" name="Группа 78"/>
          <p:cNvGrpSpPr/>
          <p:nvPr/>
        </p:nvGrpSpPr>
        <p:grpSpPr>
          <a:xfrm>
            <a:off x="3286658" y="1468617"/>
            <a:ext cx="2638593" cy="2171730"/>
            <a:chOff x="629660" y="3463875"/>
            <a:chExt cx="4601608" cy="4269530"/>
          </a:xfrm>
        </p:grpSpPr>
        <p:sp>
          <p:nvSpPr>
            <p:cNvPr id="80" name="object 2"/>
            <p:cNvSpPr/>
            <p:nvPr/>
          </p:nvSpPr>
          <p:spPr>
            <a:xfrm>
              <a:off x="2115304" y="5427328"/>
              <a:ext cx="3115964" cy="2306077"/>
            </a:xfrm>
            <a:prstGeom prst="rect">
              <a:avLst/>
            </a:prstGeom>
            <a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1" name="object 3"/>
            <p:cNvSpPr/>
            <p:nvPr/>
          </p:nvSpPr>
          <p:spPr>
            <a:xfrm>
              <a:off x="2398574" y="5750610"/>
              <a:ext cx="2549425" cy="1659514"/>
            </a:xfrm>
            <a:custGeom>
              <a:avLst/>
              <a:gdLst/>
              <a:ahLst/>
              <a:cxnLst/>
              <a:rect l="l" t="t" r="r" b="b"/>
              <a:pathLst>
                <a:path w="3429000" h="1955800">
                  <a:moveTo>
                    <a:pt x="0" y="0"/>
                  </a:moveTo>
                  <a:lnTo>
                    <a:pt x="3429000" y="0"/>
                  </a:lnTo>
                  <a:lnTo>
                    <a:pt x="3429000" y="1955800"/>
                  </a:lnTo>
                  <a:lnTo>
                    <a:pt x="0" y="19558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2" name="object 4"/>
            <p:cNvSpPr/>
            <p:nvPr/>
          </p:nvSpPr>
          <p:spPr>
            <a:xfrm>
              <a:off x="629660" y="3463875"/>
              <a:ext cx="4437840" cy="3158948"/>
            </a:xfrm>
            <a:prstGeom prst="rect">
              <a:avLst/>
            </a:prstGeom>
            <a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3" name="object 5"/>
            <p:cNvSpPr/>
            <p:nvPr/>
          </p:nvSpPr>
          <p:spPr>
            <a:xfrm>
              <a:off x="912929" y="3787157"/>
              <a:ext cx="3871301" cy="2512385"/>
            </a:xfrm>
            <a:prstGeom prst="rect">
              <a:avLst/>
            </a:prstGeom>
            <a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4" name="object 10"/>
            <p:cNvSpPr/>
            <p:nvPr/>
          </p:nvSpPr>
          <p:spPr>
            <a:xfrm>
              <a:off x="2400641" y="5750943"/>
              <a:ext cx="2545374" cy="1658791"/>
            </a:xfrm>
            <a:prstGeom prst="rect">
              <a:avLst/>
            </a:prstGeom>
            <a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86" name="TextBox 85"/>
          <p:cNvSpPr txBox="1"/>
          <p:nvPr/>
        </p:nvSpPr>
        <p:spPr>
          <a:xfrm>
            <a:off x="516636" y="1423198"/>
            <a:ext cx="3051858" cy="16414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5080">
              <a:lnSpc>
                <a:spcPts val="1600"/>
              </a:lnSpc>
              <a:spcBef>
                <a:spcPts val="95"/>
              </a:spcBef>
              <a:defRPr/>
            </a:pPr>
            <a:r>
              <a:rPr lang="ru-RU" sz="1100" b="1" dirty="0">
                <a:solidFill>
                  <a:srgbClr val="474747"/>
                </a:solidFill>
              </a:rPr>
              <a:t>Онлайн-экран для пассажира</a:t>
            </a:r>
          </a:p>
          <a:p>
            <a:pPr marR="5080">
              <a:lnSpc>
                <a:spcPts val="1600"/>
              </a:lnSpc>
              <a:spcBef>
                <a:spcPts val="95"/>
              </a:spcBef>
              <a:defRPr/>
            </a:pPr>
            <a:endParaRPr lang="ru-RU" sz="1100" dirty="0">
              <a:solidFill>
                <a:srgbClr val="474747"/>
              </a:solidFill>
            </a:endParaRPr>
          </a:p>
          <a:p>
            <a:pPr marL="179388" marR="5080" indent="-179388">
              <a:spcBef>
                <a:spcPts val="95"/>
              </a:spcBef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474747"/>
                </a:solidFill>
              </a:rPr>
              <a:t>отображение информации о рейсе для пассажира при покупке билета в кассе</a:t>
            </a:r>
          </a:p>
          <a:p>
            <a:pPr marL="179388" marR="5080" indent="-179388">
              <a:spcBef>
                <a:spcPts val="95"/>
              </a:spcBef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474747"/>
                </a:solidFill>
              </a:rPr>
              <a:t>отображение данных о заказе для проверки со стороны пассажира (без отображения персональных данных)</a:t>
            </a:r>
          </a:p>
          <a:p>
            <a:pPr>
              <a:lnSpc>
                <a:spcPct val="150000"/>
              </a:lnSpc>
            </a:pPr>
            <a:endParaRPr lang="ru-RU" sz="1100" dirty="0">
              <a:solidFill>
                <a:srgbClr val="474747"/>
              </a:solidFill>
              <a:latin typeface="Rubik Light" panose="00000400000000000000" pitchFamily="2" charset="-79"/>
              <a:cs typeface="Rubik Light" panose="00000400000000000000" pitchFamily="2" charset="-79"/>
            </a:endParaRPr>
          </a:p>
        </p:txBody>
      </p:sp>
      <p:sp>
        <p:nvSpPr>
          <p:cNvPr id="95" name="Rectangle 13"/>
          <p:cNvSpPr>
            <a:spLocks/>
          </p:cNvSpPr>
          <p:nvPr/>
        </p:nvSpPr>
        <p:spPr bwMode="auto">
          <a:xfrm>
            <a:off x="1033271" y="-53282"/>
            <a:ext cx="10558653" cy="936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r>
              <a:rPr lang="ru-RU" sz="2400" b="1" dirty="0">
                <a:solidFill>
                  <a:schemeClr val="bg1"/>
                </a:solidFill>
                <a:latin typeface="+mj-lt"/>
                <a:cs typeface="Rubik Bold" panose="02000604000000020004" pitchFamily="2" charset="-79"/>
              </a:rPr>
              <a:t>Автоматизация управления автовокзалом и продажей билетов (1/2)</a:t>
            </a:r>
          </a:p>
        </p:txBody>
      </p:sp>
    </p:spTree>
    <p:extLst>
      <p:ext uri="{BB962C8B-B14F-4D97-AF65-F5344CB8AC3E}">
        <p14:creationId xmlns:p14="http://schemas.microsoft.com/office/powerpoint/2010/main" val="2304374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78A47423-DBCE-473A-A5B9-1D0504AA1B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98" imgH="499" progId="TCLayout.ActiveDocument.1">
                  <p:embed/>
                </p:oleObj>
              </mc:Choice>
              <mc:Fallback>
                <p:oleObj name="Слайд think-cell" r:id="rId3" imgW="498" imgH="499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78A47423-DBCE-473A-A5B9-1D0504AA1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Рисунок 4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7"/>
            <a:ext cx="12192000" cy="1075585"/>
          </a:xfrm>
          <a:prstGeom prst="rect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</p:pic>
      <p:pic>
        <p:nvPicPr>
          <p:cNvPr id="16" name="Рисунок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6"/>
            <a:ext cx="1033272" cy="1148241"/>
          </a:xfrm>
          <a:prstGeom prst="rect">
            <a:avLst/>
          </a:prstGeom>
        </p:spPr>
      </p:pic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352AC0B4-2BC4-4FFC-BCEF-07B463FACB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F604BA-1C00-7E46-AF3D-AA95551CD6AC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5" name="Rectangle 13"/>
          <p:cNvSpPr>
            <a:spLocks/>
          </p:cNvSpPr>
          <p:nvPr/>
        </p:nvSpPr>
        <p:spPr bwMode="auto">
          <a:xfrm>
            <a:off x="1033271" y="-53282"/>
            <a:ext cx="10558653" cy="936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r>
              <a:rPr lang="ru-RU" sz="2400" b="1" dirty="0">
                <a:solidFill>
                  <a:schemeClr val="bg1"/>
                </a:solidFill>
                <a:latin typeface="+mj-lt"/>
                <a:cs typeface="Rubik Bold" panose="02000604000000020004" pitchFamily="2" charset="-79"/>
              </a:rPr>
              <a:t>Условия установки и обслуживания Автоматизированной </a:t>
            </a:r>
            <a:r>
              <a:rPr lang="ru-RU" sz="2400" b="1">
                <a:solidFill>
                  <a:schemeClr val="bg1"/>
                </a:solidFill>
                <a:latin typeface="+mj-lt"/>
                <a:cs typeface="Rubik Bold" panose="02000604000000020004" pitchFamily="2" charset="-79"/>
              </a:rPr>
              <a:t>Системы Управления  </a:t>
            </a:r>
            <a:r>
              <a:rPr lang="ru-RU" sz="2400" b="1" dirty="0">
                <a:solidFill>
                  <a:schemeClr val="bg1"/>
                </a:solidFill>
                <a:latin typeface="+mj-lt"/>
                <a:cs typeface="Rubik Bold" panose="02000604000000020004" pitchFamily="2" charset="-79"/>
              </a:rPr>
              <a:t>«ОднаКасса – Автовокзал»</a:t>
            </a:r>
          </a:p>
        </p:txBody>
      </p:sp>
      <p:graphicFrame>
        <p:nvGraphicFramePr>
          <p:cNvPr id="26" name="Таблица 25">
            <a:extLst>
              <a:ext uri="{FF2B5EF4-FFF2-40B4-BE49-F238E27FC236}">
                <a16:creationId xmlns:a16="http://schemas.microsoft.com/office/drawing/2014/main" id="{6A19C628-83FC-49CC-BBA9-461AEF3B15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4207235"/>
              </p:ext>
            </p:extLst>
          </p:nvPr>
        </p:nvGraphicFramePr>
        <p:xfrm>
          <a:off x="569889" y="1572805"/>
          <a:ext cx="11052221" cy="290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05949">
                  <a:extLst>
                    <a:ext uri="{9D8B030D-6E8A-4147-A177-3AD203B41FA5}">
                      <a16:colId xmlns:a16="http://schemas.microsoft.com/office/drawing/2014/main" val="1874350987"/>
                    </a:ext>
                  </a:extLst>
                </a:gridCol>
                <a:gridCol w="2346272">
                  <a:extLst>
                    <a:ext uri="{9D8B030D-6E8A-4147-A177-3AD203B41FA5}">
                      <a16:colId xmlns:a16="http://schemas.microsoft.com/office/drawing/2014/main" val="4291286416"/>
                    </a:ext>
                  </a:extLst>
                </a:gridCol>
              </a:tblGrid>
              <a:tr h="349644"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Виды работ</a:t>
                      </a:r>
                    </a:p>
                  </a:txBody>
                  <a:tcPr>
                    <a:solidFill>
                      <a:srgbClr val="F9B9C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Стоимость</a:t>
                      </a:r>
                    </a:p>
                    <a:p>
                      <a:pPr algn="ctr"/>
                      <a:endParaRPr lang="ru-RU" sz="1100" b="1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Rubik Light" panose="00000400000000000000" pitchFamily="2" charset="-79"/>
                      </a:endParaRPr>
                    </a:p>
                  </a:txBody>
                  <a:tcPr>
                    <a:solidFill>
                      <a:srgbClr val="F9B9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845877"/>
                  </a:ext>
                </a:extLst>
              </a:tr>
              <a:tr h="413954">
                <a:tc>
                  <a:txBody>
                    <a:bodyPr/>
                    <a:lstStyle/>
                    <a:p>
                      <a:r>
                        <a:rPr lang="ru-RU" sz="11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Установка и настройка АСУ «ОК - Автовокзал» </a:t>
                      </a:r>
                      <a:r>
                        <a:rPr lang="ru-RU" sz="1100" b="0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(</a:t>
                      </a:r>
                      <a:r>
                        <a:rPr lang="ru-RU" sz="11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независимо от количества рабочих мест)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+mn-lt"/>
                          <a:cs typeface="Rubik Light" panose="00000400000000000000" pitchFamily="2" charset="-79"/>
                        </a:rPr>
                        <a:t>0</a:t>
                      </a:r>
                      <a:r>
                        <a:rPr lang="ru-RU" sz="1100" b="1" baseline="0" dirty="0">
                          <a:solidFill>
                            <a:srgbClr val="000000"/>
                          </a:solidFill>
                          <a:latin typeface="+mn-lt"/>
                          <a:cs typeface="Rubik Light" panose="00000400000000000000" pitchFamily="2" charset="-79"/>
                        </a:rPr>
                        <a:t> руб</a:t>
                      </a:r>
                      <a:endParaRPr lang="ru-RU" sz="1100" b="1" dirty="0">
                        <a:solidFill>
                          <a:srgbClr val="000000"/>
                        </a:solidFill>
                        <a:latin typeface="+mn-lt"/>
                        <a:cs typeface="Rubik Light" panose="00000400000000000000" pitchFamily="2" charset="-79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9493149"/>
                  </a:ext>
                </a:extLst>
              </a:tr>
              <a:tr h="414068">
                <a:tc>
                  <a:txBody>
                    <a:bodyPr/>
                    <a:lstStyle/>
                    <a:p>
                      <a:r>
                        <a:rPr lang="ru-RU" sz="1100" b="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Лицензия на АСУ «ОК - Автовокзал» 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n-lt"/>
                          <a:cs typeface="Rubik Light" panose="00000400000000000000" pitchFamily="2" charset="-79"/>
                        </a:rPr>
                        <a:t> </a:t>
                      </a:r>
                      <a:r>
                        <a:rPr lang="ru-RU" sz="1100" b="0" dirty="0">
                          <a:solidFill>
                            <a:srgbClr val="000000"/>
                          </a:solidFill>
                          <a:latin typeface="+mn-lt"/>
                          <a:cs typeface="Rubik Light" panose="00000400000000000000" pitchFamily="2" charset="-79"/>
                        </a:rPr>
                        <a:t>10 тыс руб/разово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1406161"/>
                  </a:ext>
                </a:extLst>
              </a:tr>
              <a:tr h="35647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Информационно-техническое обслуживание </a:t>
                      </a:r>
                      <a:r>
                        <a:rPr lang="ru-RU" sz="1100" b="1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1-го рабочего места*</a:t>
                      </a:r>
                      <a:r>
                        <a:rPr lang="ru-RU" sz="1100" b="0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, руб/ежем</a:t>
                      </a:r>
                    </a:p>
                  </a:txBody>
                  <a:tcPr>
                    <a:solidFill>
                      <a:srgbClr val="F9B9C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kern="1200" dirty="0">
                        <a:solidFill>
                          <a:srgbClr val="000000"/>
                        </a:solidFill>
                        <a:latin typeface="Rubik Light" panose="00000400000000000000" pitchFamily="2" charset="-79"/>
                        <a:ea typeface="+mn-ea"/>
                        <a:cs typeface="Rubik Light" panose="00000400000000000000" pitchFamily="2" charset="-79"/>
                      </a:endParaRPr>
                    </a:p>
                  </a:txBody>
                  <a:tcPr>
                    <a:solidFill>
                      <a:srgbClr val="F9B9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549247"/>
                  </a:ext>
                </a:extLst>
              </a:tr>
              <a:tr h="3313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от</a:t>
                      </a:r>
                      <a:r>
                        <a:rPr lang="ru-RU" sz="1100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 </a:t>
                      </a:r>
                      <a:r>
                        <a:rPr lang="ru-RU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10</a:t>
                      </a:r>
                      <a:r>
                        <a:rPr lang="ru-RU" sz="1100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 и выше</a:t>
                      </a:r>
                      <a:endParaRPr lang="ru-RU" sz="11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Rubik Light" panose="00000400000000000000" pitchFamily="2" charset="-79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1 500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3711491"/>
                  </a:ext>
                </a:extLst>
              </a:tr>
              <a:tr h="3205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от</a:t>
                      </a:r>
                      <a:r>
                        <a:rPr lang="ru-RU" sz="1100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 </a:t>
                      </a:r>
                      <a:r>
                        <a:rPr lang="ru-RU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4</a:t>
                      </a:r>
                      <a:r>
                        <a:rPr lang="ru-RU" sz="1100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 до 9</a:t>
                      </a:r>
                      <a:endParaRPr lang="ru-RU" sz="11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Rubik Light" panose="00000400000000000000" pitchFamily="2" charset="-79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1 80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7402575"/>
                  </a:ext>
                </a:extLst>
              </a:tr>
              <a:tr h="3205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от 1 до 3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2</a:t>
                      </a:r>
                      <a:r>
                        <a:rPr lang="ru-RU" sz="1100" kern="1200" baseline="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 0</a:t>
                      </a:r>
                      <a:r>
                        <a:rPr lang="ru-RU" sz="11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Rubik Light" panose="00000400000000000000" pitchFamily="2" charset="-79"/>
                        </a:rPr>
                        <a:t>00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0655667"/>
                  </a:ext>
                </a:extLst>
              </a:tr>
              <a:tr h="32059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ru-RU" sz="11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Rubik Light" panose="00000400000000000000" pitchFamily="2" charset="-79"/>
                      </a:endParaRPr>
                    </a:p>
                  </a:txBody>
                  <a:tcPr>
                    <a:solidFill>
                      <a:srgbClr val="F9B9C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Rubik Light" panose="00000400000000000000" pitchFamily="2" charset="-79"/>
                      </a:endParaRPr>
                    </a:p>
                  </a:txBody>
                  <a:tcPr>
                    <a:solidFill>
                      <a:srgbClr val="F9B9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516781"/>
                  </a:ext>
                </a:extLst>
              </a:tr>
            </a:tbl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33AC9956-FC36-4A72-BBF3-A69CB1C243A9}"/>
              </a:ext>
            </a:extLst>
          </p:cNvPr>
          <p:cNvSpPr txBox="1"/>
          <p:nvPr/>
        </p:nvSpPr>
        <p:spPr>
          <a:xfrm>
            <a:off x="569889" y="4540493"/>
            <a:ext cx="56124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rgbClr val="000000"/>
                </a:solidFill>
                <a:latin typeface="Exo 2" panose="00000500000000000000" pitchFamily="2" charset="-52"/>
                <a:cs typeface="Rubik Light" panose="00000400000000000000" pitchFamily="2" charset="-79"/>
              </a:rPr>
              <a:t>* «физическое» рабочее место (вне зависимости от количества пользователей) </a:t>
            </a:r>
            <a:endParaRPr lang="ru-RU" sz="1100" dirty="0"/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8510E1DD-AE70-4CBC-88B3-1F692B9F499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1119" y="5359075"/>
            <a:ext cx="503937" cy="503937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8DE0BC75-859C-4AB5-BE62-A510152D8AC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8450" y="5274818"/>
            <a:ext cx="588194" cy="588194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B87BCCDB-E1D9-4FD7-B04B-D63BA492D410}"/>
              </a:ext>
            </a:extLst>
          </p:cNvPr>
          <p:cNvSpPr txBox="1"/>
          <p:nvPr/>
        </p:nvSpPr>
        <p:spPr>
          <a:xfrm>
            <a:off x="1992470" y="5310961"/>
            <a:ext cx="220472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rgbClr val="000000"/>
                </a:solidFill>
                <a:latin typeface="Exo 2" panose="00000500000000000000" pitchFamily="2" charset="-52"/>
                <a:cs typeface="Rubik Light" panose="00000400000000000000" pitchFamily="2" charset="-79"/>
              </a:rPr>
              <a:t>Пример малого АВ, </a:t>
            </a:r>
          </a:p>
          <a:p>
            <a:r>
              <a:rPr lang="ru-RU" sz="1100" dirty="0">
                <a:solidFill>
                  <a:srgbClr val="000000"/>
                </a:solidFill>
                <a:latin typeface="Exo 2" panose="00000500000000000000" pitchFamily="2" charset="-52"/>
                <a:cs typeface="Rubik Light" panose="00000400000000000000" pitchFamily="2" charset="-79"/>
              </a:rPr>
              <a:t>2 рабочих места: </a:t>
            </a:r>
          </a:p>
          <a:p>
            <a:r>
              <a:rPr lang="ru-RU" sz="1100" dirty="0">
                <a:solidFill>
                  <a:srgbClr val="000000"/>
                </a:solidFill>
                <a:latin typeface="Exo 2" panose="00000500000000000000" pitchFamily="2" charset="-52"/>
                <a:cs typeface="Rubik Light" panose="00000400000000000000" pitchFamily="2" charset="-79"/>
              </a:rPr>
              <a:t>ИТО = 4 тыс руб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C87FF40-C45D-4471-A58C-53454566B471}"/>
              </a:ext>
            </a:extLst>
          </p:cNvPr>
          <p:cNvSpPr txBox="1"/>
          <p:nvPr/>
        </p:nvSpPr>
        <p:spPr>
          <a:xfrm>
            <a:off x="4884878" y="5310961"/>
            <a:ext cx="220472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rgbClr val="000000"/>
                </a:solidFill>
                <a:latin typeface="Exo 2" panose="00000500000000000000" pitchFamily="2" charset="-52"/>
                <a:cs typeface="Rubik Light" panose="00000400000000000000" pitchFamily="2" charset="-79"/>
              </a:rPr>
              <a:t>Пример среднего АВ, </a:t>
            </a:r>
          </a:p>
          <a:p>
            <a:r>
              <a:rPr lang="ru-RU" sz="1100" dirty="0">
                <a:solidFill>
                  <a:srgbClr val="000000"/>
                </a:solidFill>
                <a:latin typeface="Exo 2" panose="00000500000000000000" pitchFamily="2" charset="-52"/>
                <a:cs typeface="Rubik Light" panose="00000400000000000000" pitchFamily="2" charset="-79"/>
              </a:rPr>
              <a:t>9 рабочих мест: </a:t>
            </a:r>
          </a:p>
          <a:p>
            <a:r>
              <a:rPr lang="ru-RU" sz="1100" dirty="0">
                <a:solidFill>
                  <a:srgbClr val="000000"/>
                </a:solidFill>
                <a:latin typeface="Exo 2" panose="00000500000000000000" pitchFamily="2" charset="-52"/>
                <a:cs typeface="Rubik Light" panose="00000400000000000000" pitchFamily="2" charset="-79"/>
              </a:rPr>
              <a:t>ИТО = 9 * 1800 = 16,2 тыс руб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87CB6E36-9E9D-4A6F-A0A1-A32AE68BECE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148" y="5359075"/>
            <a:ext cx="496730" cy="49673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C8D8122F-8129-40FD-B6E8-649583817705}"/>
              </a:ext>
            </a:extLst>
          </p:cNvPr>
          <p:cNvSpPr txBox="1"/>
          <p:nvPr/>
        </p:nvSpPr>
        <p:spPr>
          <a:xfrm>
            <a:off x="7936644" y="5310961"/>
            <a:ext cx="220472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rgbClr val="000000"/>
                </a:solidFill>
                <a:latin typeface="Exo 2" panose="00000500000000000000" pitchFamily="2" charset="-52"/>
                <a:cs typeface="Rubik Light" panose="00000400000000000000" pitchFamily="2" charset="-79"/>
              </a:rPr>
              <a:t>Пример для крупного АВ, </a:t>
            </a:r>
          </a:p>
          <a:p>
            <a:r>
              <a:rPr lang="ru-RU" sz="1100" dirty="0">
                <a:solidFill>
                  <a:srgbClr val="000000"/>
                </a:solidFill>
                <a:latin typeface="Exo 2" panose="00000500000000000000" pitchFamily="2" charset="-52"/>
                <a:cs typeface="Rubik Light" panose="00000400000000000000" pitchFamily="2" charset="-79"/>
              </a:rPr>
              <a:t>24 рабочих места: </a:t>
            </a:r>
          </a:p>
          <a:p>
            <a:r>
              <a:rPr lang="ru-RU" sz="1100" dirty="0">
                <a:solidFill>
                  <a:srgbClr val="000000"/>
                </a:solidFill>
                <a:latin typeface="Exo 2" panose="00000500000000000000" pitchFamily="2" charset="-52"/>
                <a:cs typeface="Rubik Light" panose="00000400000000000000" pitchFamily="2" charset="-79"/>
              </a:rPr>
              <a:t>ИТО = 24 * 1500 = 36 тыс руб</a:t>
            </a:r>
          </a:p>
        </p:txBody>
      </p:sp>
    </p:spTree>
    <p:extLst>
      <p:ext uri="{BB962C8B-B14F-4D97-AF65-F5344CB8AC3E}">
        <p14:creationId xmlns:p14="http://schemas.microsoft.com/office/powerpoint/2010/main" val="145146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Рисунок 4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7"/>
            <a:ext cx="12192000" cy="1075585"/>
          </a:xfrm>
          <a:prstGeom prst="rect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</p:pic>
      <p:pic>
        <p:nvPicPr>
          <p:cNvPr id="16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6"/>
            <a:ext cx="1033272" cy="1148241"/>
          </a:xfrm>
          <a:prstGeom prst="rect">
            <a:avLst/>
          </a:prstGeom>
        </p:spPr>
      </p:pic>
      <p:sp>
        <p:nvSpPr>
          <p:cNvPr id="6" name="Rectangle 13"/>
          <p:cNvSpPr>
            <a:spLocks/>
          </p:cNvSpPr>
          <p:nvPr/>
        </p:nvSpPr>
        <p:spPr bwMode="auto">
          <a:xfrm>
            <a:off x="1345471" y="175811"/>
            <a:ext cx="9739960" cy="936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r>
              <a:rPr lang="ru-RU" sz="2800" b="1" dirty="0">
                <a:solidFill>
                  <a:schemeClr val="bg1"/>
                </a:solidFill>
                <a:latin typeface="+mj-lt"/>
                <a:ea typeface="Lato Light" panose="020F0502020204030203" pitchFamily="34" charset="0"/>
                <a:cs typeface="Rubik Bold" panose="02000604000000020004" pitchFamily="2" charset="-79"/>
                <a:sym typeface="Lato Light" charset="0"/>
              </a:rPr>
              <a:t>Наши контакты</a:t>
            </a:r>
          </a:p>
          <a:p>
            <a:r>
              <a:rPr lang="ru-RU" sz="2800" b="1" dirty="0">
                <a:solidFill>
                  <a:schemeClr val="bg1"/>
                </a:solidFill>
                <a:latin typeface="+mj-lt"/>
                <a:ea typeface="Lato Light" panose="020F0502020204030203" pitchFamily="34" charset="0"/>
                <a:cs typeface="Rubik Bold" panose="02000604000000020004" pitchFamily="2" charset="-79"/>
                <a:sym typeface="Lato Light" charset="0"/>
              </a:rPr>
              <a:t>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29755" y="2188123"/>
            <a:ext cx="8651502" cy="26366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000"/>
              </a:spcBef>
            </a:pPr>
            <a:r>
              <a:rPr lang="ru-RU" sz="1400" b="1" dirty="0">
                <a:solidFill>
                  <a:srgbClr val="474747"/>
                </a:solidFill>
                <a:cs typeface="Rubik" panose="00000800000000000000" pitchFamily="2" charset="-79"/>
              </a:rPr>
              <a:t>ООО «ОднаКасса»</a:t>
            </a:r>
          </a:p>
          <a:p>
            <a:pPr>
              <a:lnSpc>
                <a:spcPct val="150000"/>
              </a:lnSpc>
              <a:spcBef>
                <a:spcPts val="1000"/>
              </a:spcBef>
            </a:pPr>
            <a:r>
              <a:rPr lang="ru-RU" sz="1400" b="1" dirty="0">
                <a:solidFill>
                  <a:srgbClr val="474747"/>
                </a:solidFill>
                <a:cs typeface="Rubik" panose="00000800000000000000" pitchFamily="2" charset="-79"/>
              </a:rPr>
              <a:t>Россия, г.Москва, Берсеневская набережная, д.8, стр. 3</a:t>
            </a:r>
            <a:endParaRPr lang="en-US" sz="1400" b="1" dirty="0">
              <a:solidFill>
                <a:srgbClr val="474747"/>
              </a:solidFill>
              <a:cs typeface="Rubik" panose="00000800000000000000" pitchFamily="2" charset="-79"/>
            </a:endParaRPr>
          </a:p>
          <a:p>
            <a:pPr>
              <a:lnSpc>
                <a:spcPct val="150000"/>
              </a:lnSpc>
              <a:spcBef>
                <a:spcPts val="1000"/>
              </a:spcBef>
            </a:pPr>
            <a:r>
              <a:rPr lang="en-US" sz="1400" b="1" dirty="0">
                <a:solidFill>
                  <a:srgbClr val="474747"/>
                </a:solidFill>
                <a:cs typeface="Rubik" panose="00000800000000000000" pitchFamily="2" charset="-79"/>
                <a:hlinkClick r:id="rId4"/>
              </a:rPr>
              <a:t>info@odnakassa.ru</a:t>
            </a:r>
            <a:r>
              <a:rPr lang="ru-RU" sz="1400" b="1" dirty="0">
                <a:solidFill>
                  <a:srgbClr val="474747"/>
                </a:solidFill>
                <a:cs typeface="Rubik" panose="00000800000000000000" pitchFamily="2" charset="-79"/>
              </a:rPr>
              <a:t>, </a:t>
            </a:r>
            <a:r>
              <a:rPr lang="en-US" sz="1400" b="1" dirty="0">
                <a:solidFill>
                  <a:srgbClr val="474747"/>
                </a:solidFill>
                <a:cs typeface="Rubik" panose="00000800000000000000" pitchFamily="2" charset="-79"/>
                <a:hlinkClick r:id="rId5"/>
              </a:rPr>
              <a:t>odnakassa.ru</a:t>
            </a:r>
            <a:endParaRPr lang="ru-RU" sz="1400" b="1" dirty="0">
              <a:solidFill>
                <a:srgbClr val="474747"/>
              </a:solidFill>
              <a:cs typeface="Rubik" panose="00000800000000000000" pitchFamily="2" charset="-79"/>
            </a:endParaRPr>
          </a:p>
          <a:p>
            <a:pPr>
              <a:lnSpc>
                <a:spcPct val="150000"/>
              </a:lnSpc>
              <a:spcBef>
                <a:spcPts val="1000"/>
              </a:spcBef>
            </a:pPr>
            <a:r>
              <a:rPr lang="ru-RU" sz="1400" b="1" dirty="0">
                <a:solidFill>
                  <a:srgbClr val="474747"/>
                </a:solidFill>
                <a:cs typeface="Rubik" panose="00000800000000000000" pitchFamily="2" charset="-79"/>
              </a:rPr>
              <a:t>+7 495 666 56 69</a:t>
            </a:r>
          </a:p>
          <a:p>
            <a:pPr>
              <a:lnSpc>
                <a:spcPct val="150000"/>
              </a:lnSpc>
              <a:spcBef>
                <a:spcPts val="1000"/>
              </a:spcBef>
            </a:pPr>
            <a:r>
              <a:rPr lang="ru-RU" sz="1400" b="1" dirty="0">
                <a:solidFill>
                  <a:srgbClr val="474747"/>
                </a:solidFill>
                <a:cs typeface="Rubik" panose="00000800000000000000" pitchFamily="2" charset="-79"/>
              </a:rPr>
              <a:t>+7 495 260 10 21</a:t>
            </a:r>
          </a:p>
          <a:p>
            <a:pPr>
              <a:lnSpc>
                <a:spcPct val="150000"/>
              </a:lnSpc>
            </a:pPr>
            <a:endParaRPr lang="ru-RU" b="1" dirty="0">
              <a:solidFill>
                <a:srgbClr val="474747"/>
              </a:solidFill>
              <a:cs typeface="Rubik" panose="00000800000000000000" pitchFamily="2" charset="-79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1609" y="965658"/>
            <a:ext cx="401039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479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utoUpdateAnimBg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Рисунок 4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7"/>
            <a:ext cx="12192000" cy="1075585"/>
          </a:xfrm>
          <a:prstGeom prst="rect">
            <a:avLst/>
          </a:prstGeom>
          <a:pattFill prst="pct50">
            <a:fgClr>
              <a:schemeClr val="accent1"/>
            </a:fgClr>
            <a:bgClr>
              <a:schemeClr val="bg1"/>
            </a:bgClr>
          </a:pattFill>
        </p:spPr>
      </p:pic>
      <p:pic>
        <p:nvPicPr>
          <p:cNvPr id="16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926"/>
            <a:ext cx="1033272" cy="1148241"/>
          </a:xfrm>
          <a:prstGeom prst="rect">
            <a:avLst/>
          </a:prstGeom>
        </p:spPr>
      </p:pic>
      <p:sp>
        <p:nvSpPr>
          <p:cNvPr id="6" name="Rectangle 13"/>
          <p:cNvSpPr>
            <a:spLocks/>
          </p:cNvSpPr>
          <p:nvPr/>
        </p:nvSpPr>
        <p:spPr bwMode="auto">
          <a:xfrm>
            <a:off x="1345471" y="175811"/>
            <a:ext cx="9739960" cy="936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r>
              <a:rPr lang="ru-RU" sz="2800" b="1" dirty="0">
                <a:solidFill>
                  <a:schemeClr val="bg1"/>
                </a:solidFill>
                <a:latin typeface="+mj-lt"/>
                <a:ea typeface="Lato Light" panose="020F0502020204030203" pitchFamily="34" charset="0"/>
                <a:cs typeface="Rubik Bold" panose="02000604000000020004" pitchFamily="2" charset="-79"/>
                <a:sym typeface="Lato Light" charset="0"/>
              </a:rPr>
              <a:t>Приложения</a:t>
            </a:r>
          </a:p>
          <a:p>
            <a:r>
              <a:rPr lang="ru-RU" sz="2800" b="1" dirty="0">
                <a:solidFill>
                  <a:schemeClr val="bg1"/>
                </a:solidFill>
                <a:latin typeface="+mj-lt"/>
                <a:ea typeface="Lato Light" panose="020F0502020204030203" pitchFamily="34" charset="0"/>
                <a:cs typeface="Rubik Bold" panose="02000604000000020004" pitchFamily="2" charset="-79"/>
                <a:sym typeface="Lato Light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325439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utoUpdateAnimBg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Другая 3">
      <a:dk1>
        <a:srgbClr val="00B0F0"/>
      </a:dk1>
      <a:lt1>
        <a:srgbClr val="FFFFFF"/>
      </a:lt1>
      <a:dk2>
        <a:srgbClr val="FFFFFF"/>
      </a:dk2>
      <a:lt2>
        <a:srgbClr val="0070C0"/>
      </a:lt2>
      <a:accent1>
        <a:srgbClr val="00B0F0"/>
      </a:accent1>
      <a:accent2>
        <a:srgbClr val="0070C0"/>
      </a:accent2>
      <a:accent3>
        <a:srgbClr val="0097CC"/>
      </a:accent3>
      <a:accent4>
        <a:srgbClr val="00698E"/>
      </a:accent4>
      <a:accent5>
        <a:srgbClr val="004760"/>
      </a:accent5>
      <a:accent6>
        <a:srgbClr val="002E3E"/>
      </a:accent6>
      <a:hlink>
        <a:srgbClr val="00000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993</TotalTime>
  <Words>1093</Words>
  <Application>Microsoft Office PowerPoint</Application>
  <PresentationFormat>Широкоэкранный</PresentationFormat>
  <Paragraphs>188</Paragraphs>
  <Slides>1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3" baseType="lpstr">
      <vt:lpstr>Arial</vt:lpstr>
      <vt:lpstr>Calibri</vt:lpstr>
      <vt:lpstr>Courier New</vt:lpstr>
      <vt:lpstr>Exo 2</vt:lpstr>
      <vt:lpstr>Montserrat Regular</vt:lpstr>
      <vt:lpstr>Muli</vt:lpstr>
      <vt:lpstr>Playfair Display</vt:lpstr>
      <vt:lpstr>Rubik Light</vt:lpstr>
      <vt:lpstr>Source Sans Pro</vt:lpstr>
      <vt:lpstr>Wingdings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Нэлли</cp:lastModifiedBy>
  <cp:revision>1647</cp:revision>
  <cp:lastPrinted>2021-04-14T10:17:47Z</cp:lastPrinted>
  <dcterms:created xsi:type="dcterms:W3CDTF">2017-08-02T16:03:15Z</dcterms:created>
  <dcterms:modified xsi:type="dcterms:W3CDTF">2024-05-17T11:09:55Z</dcterms:modified>
</cp:coreProperties>
</file>